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8.xml" ContentType="application/vnd.openxmlformats-officedocument.them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tags/tag7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0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8" r:id="rId4"/>
    <p:sldMasterId id="2147483729" r:id="rId5"/>
    <p:sldMasterId id="2147483902" r:id="rId6"/>
    <p:sldMasterId id="2147484003" r:id="rId7"/>
    <p:sldMasterId id="2147484205" r:id="rId8"/>
    <p:sldMasterId id="2147484318" r:id="rId9"/>
    <p:sldMasterId id="2147484333" r:id="rId10"/>
    <p:sldMasterId id="2147484343" r:id="rId11"/>
    <p:sldMasterId id="2147484432" r:id="rId12"/>
    <p:sldMasterId id="2147484448" r:id="rId13"/>
  </p:sldMasterIdLst>
  <p:notesMasterIdLst>
    <p:notesMasterId r:id="rId15"/>
  </p:notesMasterIdLst>
  <p:handoutMasterIdLst>
    <p:handoutMasterId r:id="rId16"/>
  </p:handoutMasterIdLst>
  <p:sldIdLst>
    <p:sldId id="2147482356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F4E9325-0EC7-612E-A52E-2289D917B8AE}" name="Alonso Garcia, Olivia" initials="AGO" userId="S::oalonso@ree.es::0b91f24b-8893-4961-ac27-649d5838df64" providerId="AD"/>
  <p188:author id="{09F3893A-4DCC-29AF-C101-66046C1EDFE3}" name="Amprion" initials="AMP" userId="Amprion" providerId="None"/>
  <p188:author id="{72F42F49-FF0D-267A-0DE1-C12F40ED73D1}" name="Alonso Garcia, Olivia" initials="AO" userId="S::oalonso_ree.es#ext#@entsoe00.onmicrosoft.com::15803e5b-51fc-46f9-bb14-dfbbc014f1fc" providerId="AD"/>
  <p188:author id="{EEF7FA53-10CD-BCE6-81CF-C9AA2EB6C426}" name="Kielak Robert" initials="KR" userId="S::robert.kielak_pse.pl#ext#@entsoe00.onmicrosoft.com::36d8dbff-3194-4214-b07d-1582ddd7df6b" providerId="AD"/>
  <p188:author id="{4BBF3579-5FB0-F338-1407-B492989C184E}" name="DO Giao" initials="DG" userId="S::giao.do_rte-france.com#ext#@entsoe00.onmicrosoft.com::f52e8557-daa8-40f0-ba5e-da9b5a35e9d5" providerId="AD"/>
  <p188:author id="{3257EAA6-0BB6-5564-C01D-A2E1BCDB7185}" name="Ludovica Sara Fondi" initials="LSF" userId="S::lfondi@entsoe.eu::038d4168-b185-402e-8ec8-00beac446141" providerId="AD"/>
  <p188:author id="{AD05A3C6-3519-31AE-F8D7-648B07508718}" name="Genoese Fabio (Terna)" initials="FG" userId="S::fabio.genoese@terna.it::61d79709-d69b-4d3c-9bcc-7ca7d14f034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ivia Alonso Garcia" initials="OG" lastIdx="1" clrIdx="0">
    <p:extLst>
      <p:ext uri="{19B8F6BF-5375-455C-9EA6-DF929625EA0E}">
        <p15:presenceInfo xmlns:p15="http://schemas.microsoft.com/office/powerpoint/2012/main" userId="SALONSO@ENTSOE.EU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2"/>
    <a:srgbClr val="0096FF"/>
    <a:srgbClr val="0FB29A"/>
    <a:srgbClr val="0F218B"/>
    <a:srgbClr val="00947F"/>
    <a:srgbClr val="E7EBF5"/>
    <a:srgbClr val="0D218B"/>
    <a:srgbClr val="2154A5"/>
    <a:srgbClr val="737F85"/>
    <a:srgbClr val="0150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643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1008" y="8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6/11/relationships/changesInfo" Target="changesInfos/changesInfo1.xml"/><Relationship Id="rId10" Type="http://schemas.openxmlformats.org/officeDocument/2006/relationships/slideMaster" Target="slideMasters/slideMaster7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ltan Aliyev" userId="2cd0f9a5-4cc3-4e1e-870b-947bad0a82a4" providerId="ADAL" clId="{F0421649-67B2-4185-B3AB-9DF92026F0D2}"/>
    <pc:docChg chg="custSel delSld modSld">
      <pc:chgData name="Sultan Aliyev" userId="2cd0f9a5-4cc3-4e1e-870b-947bad0a82a4" providerId="ADAL" clId="{F0421649-67B2-4185-B3AB-9DF92026F0D2}" dt="2024-12-03T10:57:23.352" v="128" actId="20577"/>
      <pc:docMkLst>
        <pc:docMk/>
      </pc:docMkLst>
      <pc:sldChg chg="del">
        <pc:chgData name="Sultan Aliyev" userId="2cd0f9a5-4cc3-4e1e-870b-947bad0a82a4" providerId="ADAL" clId="{F0421649-67B2-4185-B3AB-9DF92026F0D2}" dt="2024-12-03T10:54:03.967" v="0" actId="47"/>
        <pc:sldMkLst>
          <pc:docMk/>
          <pc:sldMk cId="1544667483" sldId="2147482355"/>
        </pc:sldMkLst>
      </pc:sldChg>
      <pc:sldChg chg="modSp mod">
        <pc:chgData name="Sultan Aliyev" userId="2cd0f9a5-4cc3-4e1e-870b-947bad0a82a4" providerId="ADAL" clId="{F0421649-67B2-4185-B3AB-9DF92026F0D2}" dt="2024-12-03T10:57:23.352" v="128" actId="20577"/>
        <pc:sldMkLst>
          <pc:docMk/>
          <pc:sldMk cId="1481404715" sldId="2147482356"/>
        </pc:sldMkLst>
        <pc:spChg chg="mod">
          <ac:chgData name="Sultan Aliyev" userId="2cd0f9a5-4cc3-4e1e-870b-947bad0a82a4" providerId="ADAL" clId="{F0421649-67B2-4185-B3AB-9DF92026F0D2}" dt="2024-12-03T10:54:16.518" v="1" actId="20577"/>
          <ac:spMkLst>
            <pc:docMk/>
            <pc:sldMk cId="1481404715" sldId="2147482356"/>
            <ac:spMk id="12" creationId="{0B132449-D0B5-C0A0-19E2-0E42AFA7934B}"/>
          </ac:spMkLst>
        </pc:spChg>
        <pc:spChg chg="mod">
          <ac:chgData name="Sultan Aliyev" userId="2cd0f9a5-4cc3-4e1e-870b-947bad0a82a4" providerId="ADAL" clId="{F0421649-67B2-4185-B3AB-9DF92026F0D2}" dt="2024-12-03T10:57:19.837" v="126" actId="20577"/>
          <ac:spMkLst>
            <pc:docMk/>
            <pc:sldMk cId="1481404715" sldId="2147482356"/>
            <ac:spMk id="13" creationId="{D8611C81-4A77-23C4-3D3E-F6F7DF53F14E}"/>
          </ac:spMkLst>
        </pc:spChg>
        <pc:spChg chg="mod">
          <ac:chgData name="Sultan Aliyev" userId="2cd0f9a5-4cc3-4e1e-870b-947bad0a82a4" providerId="ADAL" clId="{F0421649-67B2-4185-B3AB-9DF92026F0D2}" dt="2024-12-03T10:57:23.352" v="128" actId="20577"/>
          <ac:spMkLst>
            <pc:docMk/>
            <pc:sldMk cId="1481404715" sldId="2147482356"/>
            <ac:spMk id="16" creationId="{EB768D06-BBDD-6CA4-65C4-4D59B23045F6}"/>
          </ac:spMkLst>
        </pc:spChg>
      </pc:sldChg>
      <pc:sldChg chg="del">
        <pc:chgData name="Sultan Aliyev" userId="2cd0f9a5-4cc3-4e1e-870b-947bad0a82a4" providerId="ADAL" clId="{F0421649-67B2-4185-B3AB-9DF92026F0D2}" dt="2024-12-03T10:57:05.663" v="119" actId="47"/>
        <pc:sldMkLst>
          <pc:docMk/>
          <pc:sldMk cId="4291154965" sldId="214748235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A9962709-C027-4427-97CF-50E2F267C0EF}" type="presOf" srcId="{EE8AF158-0E30-4505-B8A3-A23D841EE20A}" destId="{32C5A92E-6BF7-4147-8D3B-45A0624571ED}" srcOrd="0" destOrd="0" presId="urn:microsoft.com/office/officeart/2005/8/layout/hList6"/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3BB23C2E-C309-4B5D-8E03-097819E72211}" type="presOf" srcId="{41D35DD2-60D8-418D-85EC-2DDDB1333EEC}" destId="{32E9553A-2CF3-4DEA-AB3F-F65A55D7581E}" srcOrd="0" destOrd="0" presId="urn:microsoft.com/office/officeart/2005/8/layout/hList6"/>
    <dgm:cxn modelId="{C5108830-E7F5-4353-9982-36D9857159F7}" type="presOf" srcId="{F1327EE5-B19C-44E8-BECC-3DD8D56DEB1B}" destId="{32E9553A-2CF3-4DEA-AB3F-F65A55D7581E}" srcOrd="0" destOrd="2" presId="urn:microsoft.com/office/officeart/2005/8/layout/hList6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CB454846-59F6-45DB-8CCE-C45B31CE4605}" type="presOf" srcId="{C84332FE-BA2D-4E3A-B596-1F7D570FDBDC}" destId="{64FECA9A-90D8-40C5-9C04-32EF5BF4A107}" srcOrd="0" destOrd="0" presId="urn:microsoft.com/office/officeart/2005/8/layout/hList6"/>
    <dgm:cxn modelId="{BE485291-578C-477F-A42B-3605099CCAAC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6DBDBB2-42A6-417A-9A0D-3765DD1D3EDD}" type="presOf" srcId="{BF372191-0C9C-40E7-8E87-45CA8E3AA4CF}" destId="{27E9E500-62EC-46C2-B7C8-3723367EE8E7}" srcOrd="0" destOrd="0" presId="urn:microsoft.com/office/officeart/2005/8/layout/hList6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EA6A56FF-A758-45AB-BD21-090C1595C4AE}" type="presOf" srcId="{60165A43-387F-48C1-9A6D-CDB9DC2B8430}" destId="{0D7987FC-DBC8-4B03-95AC-7CE716B69BC3}" srcOrd="0" destOrd="0" presId="urn:microsoft.com/office/officeart/2005/8/layout/hList6"/>
    <dgm:cxn modelId="{CF582B6C-D8A1-429C-8587-05EF46E2C82D}" type="presParOf" srcId="{27E9E500-62EC-46C2-B7C8-3723367EE8E7}" destId="{32E9553A-2CF3-4DEA-AB3F-F65A55D7581E}" srcOrd="0" destOrd="0" presId="urn:microsoft.com/office/officeart/2005/8/layout/hList6"/>
    <dgm:cxn modelId="{2BEF0C22-2E72-4E4C-AE7D-56C1E5FD3AF1}" type="presParOf" srcId="{27E9E500-62EC-46C2-B7C8-3723367EE8E7}" destId="{354721F1-31E2-437B-87FF-1DCD623A0331}" srcOrd="1" destOrd="0" presId="urn:microsoft.com/office/officeart/2005/8/layout/hList6"/>
    <dgm:cxn modelId="{26E14191-02E0-4761-9E93-66FF7EA6522F}" type="presParOf" srcId="{27E9E500-62EC-46C2-B7C8-3723367EE8E7}" destId="{32C5A92E-6BF7-4147-8D3B-45A0624571ED}" srcOrd="2" destOrd="0" presId="urn:microsoft.com/office/officeart/2005/8/layout/hList6"/>
    <dgm:cxn modelId="{9E41B8C2-9D7D-496C-A808-60CD7D97F2D6}" type="presParOf" srcId="{27E9E500-62EC-46C2-B7C8-3723367EE8E7}" destId="{F98F8A01-25FC-4155-B2B1-DB023B1A6F31}" srcOrd="3" destOrd="0" presId="urn:microsoft.com/office/officeart/2005/8/layout/hList6"/>
    <dgm:cxn modelId="{E56F8894-2D26-4D66-A15B-D3E1DAFA047F}" type="presParOf" srcId="{27E9E500-62EC-46C2-B7C8-3723367EE8E7}" destId="{0D7987FC-DBC8-4B03-95AC-7CE716B69BC3}" srcOrd="4" destOrd="0" presId="urn:microsoft.com/office/officeart/2005/8/layout/hList6"/>
    <dgm:cxn modelId="{545F3851-EC9A-41D7-B04C-FF420DD49D1C}" type="presParOf" srcId="{27E9E500-62EC-46C2-B7C8-3723367EE8E7}" destId="{CAC38D8F-F77B-418F-9A56-E69D8EFBDE3E}" srcOrd="5" destOrd="0" presId="urn:microsoft.com/office/officeart/2005/8/layout/hList6"/>
    <dgm:cxn modelId="{09F98F17-114F-463A-BF85-57E0E0A30D82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DAC4D7-E809-3C42-8861-7253F4E2F86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05ABE4-7D4C-EB44-877F-96C2F4B465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5A7DDC-5DB1-6244-9F79-DA6A8A626651}" type="datetimeFigureOut">
              <a:rPr lang="en-GB" smtClean="0"/>
              <a:t>03/12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D3555D-255B-734E-9D75-8A5DABF465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88CAD-A74E-4D49-B670-8C8BEAA6E9A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0514D-EA06-A748-83B4-912498E611A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2260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59A86B-9331-47F8-9CB8-30AFD1F6D4A5}" type="datetimeFigureOut">
              <a:rPr lang="de-DE" smtClean="0"/>
              <a:t>03.12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7DFC0B-81FF-47CA-B58A-4F56118074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19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DFC0B-81FF-47CA-B58A-4F561180745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1123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Master" Target="../slideMasters/slideMaster10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5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Master" Target="../slideMasters/slideMaster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Master" Target="../slideMasters/slideMaster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Master" Target="../slideMasters/slideMaster9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3">
            <a:extLst>
              <a:ext uri="{FF2B5EF4-FFF2-40B4-BE49-F238E27FC236}">
                <a16:creationId xmlns:a16="http://schemas.microsoft.com/office/drawing/2014/main" id="{E3217584-8D20-4380-BB01-BE1908521D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2001" y="440669"/>
            <a:ext cx="11281639" cy="825489"/>
          </a:xfrm>
          <a:prstGeom prst="rect">
            <a:avLst/>
          </a:prstGeom>
        </p:spPr>
        <p:txBody>
          <a:bodyPr anchor="b"/>
          <a:lstStyle>
            <a:lvl1pPr>
              <a:lnSpc>
                <a:spcPts val="3200"/>
              </a:lnSpc>
              <a:defRPr sz="30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le ENTSO-E PowerPoint-</a:t>
            </a:r>
            <a:r>
              <a:rPr lang="de-DE" err="1"/>
              <a:t>Presentation</a:t>
            </a:r>
            <a:br>
              <a:rPr lang="de-DE"/>
            </a:b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expand</a:t>
            </a:r>
            <a:r>
              <a:rPr lang="de-DE"/>
              <a:t> </a:t>
            </a:r>
            <a:r>
              <a:rPr lang="de-DE" err="1"/>
              <a:t>over</a:t>
            </a:r>
            <a:r>
              <a:rPr lang="de-DE"/>
              <a:t> </a:t>
            </a:r>
            <a:r>
              <a:rPr lang="de-DE" err="1"/>
              <a:t>two</a:t>
            </a:r>
            <a:r>
              <a:rPr lang="de-DE"/>
              <a:t> </a:t>
            </a:r>
            <a:r>
              <a:rPr lang="de-DE" err="1"/>
              <a:t>lines</a:t>
            </a:r>
            <a:r>
              <a:rPr lang="de-DE"/>
              <a:t>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endParaRPr lang="de-DE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6C648BC7-A18A-4A39-805B-D1DC80B0E96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2001" y="1451044"/>
            <a:ext cx="11281639" cy="46578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lnSpc>
                <a:spcPts val="2600"/>
              </a:lnSpc>
              <a:buNone/>
              <a:defRPr/>
            </a:lvl2pPr>
            <a:lvl3pPr marL="914400" indent="0">
              <a:buNone/>
              <a:defRPr/>
            </a:lvl3pPr>
          </a:lstStyle>
          <a:p>
            <a:pPr lvl="0"/>
            <a:r>
              <a:rPr lang="de-DE"/>
              <a:t>Subheadline, </a:t>
            </a:r>
            <a:r>
              <a:rPr lang="de-DE" err="1"/>
              <a:t>click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. Change </a:t>
            </a:r>
            <a:r>
              <a:rPr lang="de-DE" err="1"/>
              <a:t>picture</a:t>
            </a:r>
            <a:r>
              <a:rPr lang="de-DE"/>
              <a:t> in View &gt; Slide Master &gt; Slide Master 1</a:t>
            </a:r>
          </a:p>
        </p:txBody>
      </p:sp>
      <p:sp>
        <p:nvSpPr>
          <p:cNvPr id="10" name="Rechteck 1">
            <a:extLst>
              <a:ext uri="{FF2B5EF4-FFF2-40B4-BE49-F238E27FC236}">
                <a16:creationId xmlns:a16="http://schemas.microsoft.com/office/drawing/2014/main" id="{A331ABB7-B6F3-4D26-B61C-EFA0A39BA0A8}"/>
              </a:ext>
            </a:extLst>
          </p:cNvPr>
          <p:cNvSpPr/>
          <p:nvPr userDrawn="1"/>
        </p:nvSpPr>
        <p:spPr>
          <a:xfrm flipH="1">
            <a:off x="480001" y="43200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557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0">
          <p15:clr>
            <a:srgbClr val="FBAE40"/>
          </p15:clr>
        </p15:guide>
        <p15:guide id="2" orient="horz" pos="1956">
          <p15:clr>
            <a:srgbClr val="FBAE40"/>
          </p15:clr>
        </p15:guide>
        <p15:guide id="4" pos="3659">
          <p15:clr>
            <a:srgbClr val="A4A3A4"/>
          </p15:clr>
        </p15:guide>
        <p15:guide id="5" orient="horz" pos="1865">
          <p15:clr>
            <a:srgbClr val="A4A3A4"/>
          </p15:clr>
        </p15:guide>
        <p15:guide id="6" orient="horz" pos="391">
          <p15:clr>
            <a:srgbClr val="A4A3A4"/>
          </p15:clr>
        </p15:guide>
        <p15:guide id="7" orient="horz" pos="1003">
          <p15:clr>
            <a:srgbClr val="A4A3A4"/>
          </p15:clr>
        </p15:guide>
        <p15:guide id="8" orient="horz" pos="913">
          <p15:clr>
            <a:srgbClr val="A4A3A4"/>
          </p15:clr>
        </p15:guide>
        <p15:guide id="9" pos="181">
          <p15:clr>
            <a:srgbClr val="A4A3A4"/>
          </p15:clr>
        </p15:guide>
        <p15:guide id="10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866964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037724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464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920887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454299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785967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2356722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527644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45863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34844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4619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563049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7620802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796294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578233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42358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2646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6377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598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245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ntentPage+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9FA5A5E8-3D06-A7EA-5635-120AA76CC575}"/>
              </a:ext>
            </a:extLst>
          </p:cNvPr>
          <p:cNvSpPr txBox="1"/>
          <p:nvPr userDrawn="1"/>
        </p:nvSpPr>
        <p:spPr>
          <a:xfrm>
            <a:off x="11669843" y="6363852"/>
            <a:ext cx="4260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54852F9-C3A0-4A3E-9AC1-EC03AA4C68BF}" type="slidenum">
              <a:rPr lang="en-GB" sz="1400" smtClean="0">
                <a:solidFill>
                  <a:srgbClr val="2C3051"/>
                </a:solidFill>
                <a:latin typeface="Avenir Next LT Pro Demi" panose="020B0704020202020204" pitchFamily="34" charset="0"/>
              </a:rPr>
              <a:pPr algn="r"/>
              <a:t>‹#›</a:t>
            </a:fld>
            <a:endParaRPr lang="en-GB">
              <a:solidFill>
                <a:srgbClr val="2C3051"/>
              </a:solidFill>
              <a:latin typeface="Avenir Next LT Pro Demi" panose="020B0704020202020204" pitchFamily="34" charset="0"/>
            </a:endParaRP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AFD27D79-AED5-4E9D-AA32-2924BF8F47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6294" y="6415654"/>
            <a:ext cx="395011" cy="204171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828C055-0230-E639-01FE-2EFDCAFD79C6}"/>
              </a:ext>
            </a:extLst>
          </p:cNvPr>
          <p:cNvCxnSpPr/>
          <p:nvPr userDrawn="1"/>
        </p:nvCxnSpPr>
        <p:spPr>
          <a:xfrm>
            <a:off x="11677338" y="6363852"/>
            <a:ext cx="0" cy="307777"/>
          </a:xfrm>
          <a:prstGeom prst="line">
            <a:avLst/>
          </a:prstGeom>
          <a:ln>
            <a:solidFill>
              <a:srgbClr val="C1E0F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 1">
            <a:extLst>
              <a:ext uri="{FF2B5EF4-FFF2-40B4-BE49-F238E27FC236}">
                <a16:creationId xmlns:a16="http://schemas.microsoft.com/office/drawing/2014/main" id="{C41C9ACE-5159-2A8E-74E5-77F61C7971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555" y="765779"/>
            <a:ext cx="9119422" cy="965531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 b="1" i="0">
                <a:solidFill>
                  <a:srgbClr val="D86533"/>
                </a:solidFill>
                <a:latin typeface="Avenir Black" panose="02000503020000020003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19" name="object 2">
            <a:extLst>
              <a:ext uri="{FF2B5EF4-FFF2-40B4-BE49-F238E27FC236}">
                <a16:creationId xmlns:a16="http://schemas.microsoft.com/office/drawing/2014/main" id="{ACCBBD6F-4DDA-7EBF-8B2B-98C145727807}"/>
              </a:ext>
            </a:extLst>
          </p:cNvPr>
          <p:cNvSpPr/>
          <p:nvPr userDrawn="1"/>
        </p:nvSpPr>
        <p:spPr>
          <a:xfrm>
            <a:off x="0" y="0"/>
            <a:ext cx="1639127" cy="965531"/>
          </a:xfrm>
          <a:custGeom>
            <a:avLst/>
            <a:gdLst/>
            <a:ahLst/>
            <a:cxnLst/>
            <a:rect l="l" t="t" r="r" b="b"/>
            <a:pathLst>
              <a:path w="5208270" h="4904105">
                <a:moveTo>
                  <a:pt x="5207965" y="0"/>
                </a:moveTo>
                <a:lnTo>
                  <a:pt x="0" y="0"/>
                </a:lnTo>
                <a:lnTo>
                  <a:pt x="0" y="4904003"/>
                </a:lnTo>
                <a:lnTo>
                  <a:pt x="20078" y="4904003"/>
                </a:lnTo>
                <a:lnTo>
                  <a:pt x="85344" y="4897516"/>
                </a:lnTo>
                <a:lnTo>
                  <a:pt x="149626" y="4890395"/>
                </a:lnTo>
                <a:lnTo>
                  <a:pt x="212935" y="4882647"/>
                </a:lnTo>
                <a:lnTo>
                  <a:pt x="275283" y="4874279"/>
                </a:lnTo>
                <a:lnTo>
                  <a:pt x="336683" y="4865297"/>
                </a:lnTo>
                <a:lnTo>
                  <a:pt x="397145" y="4855708"/>
                </a:lnTo>
                <a:lnTo>
                  <a:pt x="456682" y="4845517"/>
                </a:lnTo>
                <a:lnTo>
                  <a:pt x="515304" y="4834732"/>
                </a:lnTo>
                <a:lnTo>
                  <a:pt x="573024" y="4823359"/>
                </a:lnTo>
                <a:lnTo>
                  <a:pt x="629854" y="4811404"/>
                </a:lnTo>
                <a:lnTo>
                  <a:pt x="685805" y="4798874"/>
                </a:lnTo>
                <a:lnTo>
                  <a:pt x="740888" y="4785776"/>
                </a:lnTo>
                <a:lnTo>
                  <a:pt x="795116" y="4772115"/>
                </a:lnTo>
                <a:lnTo>
                  <a:pt x="848501" y="4757899"/>
                </a:lnTo>
                <a:lnTo>
                  <a:pt x="901053" y="4743134"/>
                </a:lnTo>
                <a:lnTo>
                  <a:pt x="952784" y="4727825"/>
                </a:lnTo>
                <a:lnTo>
                  <a:pt x="1003707" y="4711981"/>
                </a:lnTo>
                <a:lnTo>
                  <a:pt x="1053833" y="4695607"/>
                </a:lnTo>
                <a:lnTo>
                  <a:pt x="1103174" y="4678710"/>
                </a:lnTo>
                <a:lnTo>
                  <a:pt x="1151741" y="4661296"/>
                </a:lnTo>
                <a:lnTo>
                  <a:pt x="1199546" y="4643371"/>
                </a:lnTo>
                <a:lnTo>
                  <a:pt x="1246600" y="4624943"/>
                </a:lnTo>
                <a:lnTo>
                  <a:pt x="1292916" y="4606017"/>
                </a:lnTo>
                <a:lnTo>
                  <a:pt x="1338505" y="4586601"/>
                </a:lnTo>
                <a:lnTo>
                  <a:pt x="1383379" y="4566700"/>
                </a:lnTo>
                <a:lnTo>
                  <a:pt x="1427550" y="4546321"/>
                </a:lnTo>
                <a:lnTo>
                  <a:pt x="1471028" y="4525471"/>
                </a:lnTo>
                <a:lnTo>
                  <a:pt x="1513827" y="4504156"/>
                </a:lnTo>
                <a:lnTo>
                  <a:pt x="1555957" y="4482383"/>
                </a:lnTo>
                <a:lnTo>
                  <a:pt x="1597430" y="4460157"/>
                </a:lnTo>
                <a:lnTo>
                  <a:pt x="1638258" y="4437486"/>
                </a:lnTo>
                <a:lnTo>
                  <a:pt x="1678453" y="4414376"/>
                </a:lnTo>
                <a:lnTo>
                  <a:pt x="1718026" y="4390833"/>
                </a:lnTo>
                <a:lnTo>
                  <a:pt x="1756989" y="4366865"/>
                </a:lnTo>
                <a:lnTo>
                  <a:pt x="1795354" y="4342477"/>
                </a:lnTo>
                <a:lnTo>
                  <a:pt x="1833132" y="4317675"/>
                </a:lnTo>
                <a:lnTo>
                  <a:pt x="1870336" y="4292467"/>
                </a:lnTo>
                <a:lnTo>
                  <a:pt x="1906976" y="4266859"/>
                </a:lnTo>
                <a:lnTo>
                  <a:pt x="1943064" y="4240857"/>
                </a:lnTo>
                <a:lnTo>
                  <a:pt x="1978613" y="4214468"/>
                </a:lnTo>
                <a:lnTo>
                  <a:pt x="2013634" y="4187699"/>
                </a:lnTo>
                <a:lnTo>
                  <a:pt x="2048138" y="4160555"/>
                </a:lnTo>
                <a:lnTo>
                  <a:pt x="2082137" y="4133043"/>
                </a:lnTo>
                <a:lnTo>
                  <a:pt x="2115643" y="4105171"/>
                </a:lnTo>
                <a:lnTo>
                  <a:pt x="2148668" y="4076943"/>
                </a:lnTo>
                <a:lnTo>
                  <a:pt x="2181224" y="4048367"/>
                </a:lnTo>
                <a:lnTo>
                  <a:pt x="2213321" y="4019449"/>
                </a:lnTo>
                <a:lnTo>
                  <a:pt x="2244972" y="3990196"/>
                </a:lnTo>
                <a:lnTo>
                  <a:pt x="2276188" y="3960614"/>
                </a:lnTo>
                <a:lnTo>
                  <a:pt x="2306981" y="3930710"/>
                </a:lnTo>
                <a:lnTo>
                  <a:pt x="2337364" y="3900490"/>
                </a:lnTo>
                <a:lnTo>
                  <a:pt x="2367346" y="3869960"/>
                </a:lnTo>
                <a:lnTo>
                  <a:pt x="2396941" y="3839127"/>
                </a:lnTo>
                <a:lnTo>
                  <a:pt x="2426160" y="3807998"/>
                </a:lnTo>
                <a:lnTo>
                  <a:pt x="2455014" y="3776579"/>
                </a:lnTo>
                <a:lnTo>
                  <a:pt x="2483515" y="3744877"/>
                </a:lnTo>
                <a:lnTo>
                  <a:pt x="2511675" y="3712897"/>
                </a:lnTo>
                <a:lnTo>
                  <a:pt x="2539506" y="3680647"/>
                </a:lnTo>
                <a:lnTo>
                  <a:pt x="2567019" y="3648133"/>
                </a:lnTo>
                <a:lnTo>
                  <a:pt x="2594227" y="3615361"/>
                </a:lnTo>
                <a:lnTo>
                  <a:pt x="2621140" y="3582338"/>
                </a:lnTo>
                <a:lnTo>
                  <a:pt x="2647770" y="3549071"/>
                </a:lnTo>
                <a:lnTo>
                  <a:pt x="2674129" y="3515565"/>
                </a:lnTo>
                <a:lnTo>
                  <a:pt x="2700229" y="3481828"/>
                </a:lnTo>
                <a:lnTo>
                  <a:pt x="2726082" y="3447865"/>
                </a:lnTo>
                <a:lnTo>
                  <a:pt x="2751698" y="3413684"/>
                </a:lnTo>
                <a:lnTo>
                  <a:pt x="2777091" y="3379290"/>
                </a:lnTo>
                <a:lnTo>
                  <a:pt x="2802271" y="3344691"/>
                </a:lnTo>
                <a:lnTo>
                  <a:pt x="2827250" y="3309893"/>
                </a:lnTo>
                <a:lnTo>
                  <a:pt x="2876653" y="3239724"/>
                </a:lnTo>
                <a:lnTo>
                  <a:pt x="2925393" y="3168836"/>
                </a:lnTo>
                <a:lnTo>
                  <a:pt x="2973563" y="3097281"/>
                </a:lnTo>
                <a:lnTo>
                  <a:pt x="3021258" y="3025110"/>
                </a:lnTo>
                <a:lnTo>
                  <a:pt x="3068571" y="2952375"/>
                </a:lnTo>
                <a:lnTo>
                  <a:pt x="3139028" y="2842329"/>
                </a:lnTo>
                <a:lnTo>
                  <a:pt x="3420672" y="2394125"/>
                </a:lnTo>
                <a:lnTo>
                  <a:pt x="3492616" y="2280944"/>
                </a:lnTo>
                <a:lnTo>
                  <a:pt x="3541250" y="2205422"/>
                </a:lnTo>
                <a:lnTo>
                  <a:pt x="3621928" y="2081094"/>
                </a:lnTo>
                <a:lnTo>
                  <a:pt x="3705424" y="1950584"/>
                </a:lnTo>
                <a:lnTo>
                  <a:pt x="3981389" y="1513988"/>
                </a:lnTo>
                <a:lnTo>
                  <a:pt x="4064634" y="1383871"/>
                </a:lnTo>
                <a:lnTo>
                  <a:pt x="4120525" y="1297666"/>
                </a:lnTo>
                <a:lnTo>
                  <a:pt x="4176838" y="1212012"/>
                </a:lnTo>
                <a:lnTo>
                  <a:pt x="4233661" y="1127013"/>
                </a:lnTo>
                <a:lnTo>
                  <a:pt x="4291083" y="1042769"/>
                </a:lnTo>
                <a:lnTo>
                  <a:pt x="4320047" y="1000963"/>
                </a:lnTo>
                <a:lnTo>
                  <a:pt x="4349195" y="959384"/>
                </a:lnTo>
                <a:lnTo>
                  <a:pt x="4378536" y="918045"/>
                </a:lnTo>
                <a:lnTo>
                  <a:pt x="4408084" y="876959"/>
                </a:lnTo>
                <a:lnTo>
                  <a:pt x="4437848" y="836139"/>
                </a:lnTo>
                <a:lnTo>
                  <a:pt x="4467841" y="795597"/>
                </a:lnTo>
                <a:lnTo>
                  <a:pt x="4498072" y="755346"/>
                </a:lnTo>
                <a:lnTo>
                  <a:pt x="4528554" y="715400"/>
                </a:lnTo>
                <a:lnTo>
                  <a:pt x="4559298" y="675770"/>
                </a:lnTo>
                <a:lnTo>
                  <a:pt x="4590314" y="636470"/>
                </a:lnTo>
                <a:lnTo>
                  <a:pt x="4621614" y="597512"/>
                </a:lnTo>
                <a:lnTo>
                  <a:pt x="4653209" y="558910"/>
                </a:lnTo>
                <a:lnTo>
                  <a:pt x="4685110" y="520675"/>
                </a:lnTo>
                <a:lnTo>
                  <a:pt x="4717329" y="482821"/>
                </a:lnTo>
                <a:lnTo>
                  <a:pt x="4749876" y="445361"/>
                </a:lnTo>
                <a:lnTo>
                  <a:pt x="4782763" y="408306"/>
                </a:lnTo>
                <a:lnTo>
                  <a:pt x="4816000" y="371671"/>
                </a:lnTo>
                <a:lnTo>
                  <a:pt x="4849600" y="335468"/>
                </a:lnTo>
                <a:lnTo>
                  <a:pt x="4883573" y="299710"/>
                </a:lnTo>
                <a:lnTo>
                  <a:pt x="4917930" y="264408"/>
                </a:lnTo>
                <a:lnTo>
                  <a:pt x="4952683" y="229577"/>
                </a:lnTo>
                <a:lnTo>
                  <a:pt x="4987842" y="195229"/>
                </a:lnTo>
                <a:lnTo>
                  <a:pt x="5023420" y="161377"/>
                </a:lnTo>
                <a:lnTo>
                  <a:pt x="5059426" y="128033"/>
                </a:lnTo>
                <a:lnTo>
                  <a:pt x="5095872" y="95211"/>
                </a:lnTo>
                <a:lnTo>
                  <a:pt x="5132770" y="62923"/>
                </a:lnTo>
                <a:lnTo>
                  <a:pt x="5170131" y="31181"/>
                </a:lnTo>
                <a:lnTo>
                  <a:pt x="5207965" y="0"/>
                </a:lnTo>
                <a:close/>
              </a:path>
            </a:pathLst>
          </a:custGeom>
          <a:solidFill>
            <a:srgbClr val="C1E0F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">
            <a:extLst>
              <a:ext uri="{FF2B5EF4-FFF2-40B4-BE49-F238E27FC236}">
                <a16:creationId xmlns:a16="http://schemas.microsoft.com/office/drawing/2014/main" id="{2F2AC7B1-8558-CB1E-7C04-AA2ACBDBC93E}"/>
              </a:ext>
            </a:extLst>
          </p:cNvPr>
          <p:cNvSpPr/>
          <p:nvPr userDrawn="1"/>
        </p:nvSpPr>
        <p:spPr>
          <a:xfrm>
            <a:off x="-1" y="1"/>
            <a:ext cx="1568627" cy="924003"/>
          </a:xfrm>
          <a:custGeom>
            <a:avLst/>
            <a:gdLst/>
            <a:ahLst/>
            <a:cxnLst/>
            <a:rect l="l" t="t" r="r" b="b"/>
            <a:pathLst>
              <a:path w="5208270" h="4904105">
                <a:moveTo>
                  <a:pt x="5207965" y="0"/>
                </a:moveTo>
                <a:lnTo>
                  <a:pt x="0" y="0"/>
                </a:lnTo>
                <a:lnTo>
                  <a:pt x="0" y="4904003"/>
                </a:lnTo>
                <a:lnTo>
                  <a:pt x="20078" y="4904003"/>
                </a:lnTo>
                <a:lnTo>
                  <a:pt x="85344" y="4897516"/>
                </a:lnTo>
                <a:lnTo>
                  <a:pt x="149626" y="4890395"/>
                </a:lnTo>
                <a:lnTo>
                  <a:pt x="212935" y="4882647"/>
                </a:lnTo>
                <a:lnTo>
                  <a:pt x="275283" y="4874279"/>
                </a:lnTo>
                <a:lnTo>
                  <a:pt x="336683" y="4865297"/>
                </a:lnTo>
                <a:lnTo>
                  <a:pt x="397145" y="4855708"/>
                </a:lnTo>
                <a:lnTo>
                  <a:pt x="456682" y="4845517"/>
                </a:lnTo>
                <a:lnTo>
                  <a:pt x="515304" y="4834732"/>
                </a:lnTo>
                <a:lnTo>
                  <a:pt x="573024" y="4823359"/>
                </a:lnTo>
                <a:lnTo>
                  <a:pt x="629854" y="4811404"/>
                </a:lnTo>
                <a:lnTo>
                  <a:pt x="685805" y="4798874"/>
                </a:lnTo>
                <a:lnTo>
                  <a:pt x="740888" y="4785776"/>
                </a:lnTo>
                <a:lnTo>
                  <a:pt x="795116" y="4772115"/>
                </a:lnTo>
                <a:lnTo>
                  <a:pt x="848501" y="4757899"/>
                </a:lnTo>
                <a:lnTo>
                  <a:pt x="901053" y="4743134"/>
                </a:lnTo>
                <a:lnTo>
                  <a:pt x="952784" y="4727825"/>
                </a:lnTo>
                <a:lnTo>
                  <a:pt x="1003707" y="4711981"/>
                </a:lnTo>
                <a:lnTo>
                  <a:pt x="1053833" y="4695607"/>
                </a:lnTo>
                <a:lnTo>
                  <a:pt x="1103174" y="4678710"/>
                </a:lnTo>
                <a:lnTo>
                  <a:pt x="1151741" y="4661296"/>
                </a:lnTo>
                <a:lnTo>
                  <a:pt x="1199546" y="4643371"/>
                </a:lnTo>
                <a:lnTo>
                  <a:pt x="1246600" y="4624943"/>
                </a:lnTo>
                <a:lnTo>
                  <a:pt x="1292916" y="4606017"/>
                </a:lnTo>
                <a:lnTo>
                  <a:pt x="1338505" y="4586601"/>
                </a:lnTo>
                <a:lnTo>
                  <a:pt x="1383379" y="4566700"/>
                </a:lnTo>
                <a:lnTo>
                  <a:pt x="1427550" y="4546321"/>
                </a:lnTo>
                <a:lnTo>
                  <a:pt x="1471028" y="4525471"/>
                </a:lnTo>
                <a:lnTo>
                  <a:pt x="1513827" y="4504156"/>
                </a:lnTo>
                <a:lnTo>
                  <a:pt x="1555957" y="4482383"/>
                </a:lnTo>
                <a:lnTo>
                  <a:pt x="1597430" y="4460157"/>
                </a:lnTo>
                <a:lnTo>
                  <a:pt x="1638258" y="4437486"/>
                </a:lnTo>
                <a:lnTo>
                  <a:pt x="1678453" y="4414376"/>
                </a:lnTo>
                <a:lnTo>
                  <a:pt x="1718026" y="4390833"/>
                </a:lnTo>
                <a:lnTo>
                  <a:pt x="1756989" y="4366865"/>
                </a:lnTo>
                <a:lnTo>
                  <a:pt x="1795354" y="4342477"/>
                </a:lnTo>
                <a:lnTo>
                  <a:pt x="1833132" y="4317675"/>
                </a:lnTo>
                <a:lnTo>
                  <a:pt x="1870336" y="4292467"/>
                </a:lnTo>
                <a:lnTo>
                  <a:pt x="1906976" y="4266859"/>
                </a:lnTo>
                <a:lnTo>
                  <a:pt x="1943064" y="4240857"/>
                </a:lnTo>
                <a:lnTo>
                  <a:pt x="1978613" y="4214468"/>
                </a:lnTo>
                <a:lnTo>
                  <a:pt x="2013634" y="4187699"/>
                </a:lnTo>
                <a:lnTo>
                  <a:pt x="2048138" y="4160555"/>
                </a:lnTo>
                <a:lnTo>
                  <a:pt x="2082137" y="4133043"/>
                </a:lnTo>
                <a:lnTo>
                  <a:pt x="2115643" y="4105171"/>
                </a:lnTo>
                <a:lnTo>
                  <a:pt x="2148668" y="4076943"/>
                </a:lnTo>
                <a:lnTo>
                  <a:pt x="2181224" y="4048367"/>
                </a:lnTo>
                <a:lnTo>
                  <a:pt x="2213321" y="4019449"/>
                </a:lnTo>
                <a:lnTo>
                  <a:pt x="2244972" y="3990196"/>
                </a:lnTo>
                <a:lnTo>
                  <a:pt x="2276188" y="3960614"/>
                </a:lnTo>
                <a:lnTo>
                  <a:pt x="2306981" y="3930710"/>
                </a:lnTo>
                <a:lnTo>
                  <a:pt x="2337364" y="3900490"/>
                </a:lnTo>
                <a:lnTo>
                  <a:pt x="2367346" y="3869960"/>
                </a:lnTo>
                <a:lnTo>
                  <a:pt x="2396941" y="3839127"/>
                </a:lnTo>
                <a:lnTo>
                  <a:pt x="2426160" y="3807998"/>
                </a:lnTo>
                <a:lnTo>
                  <a:pt x="2455014" y="3776579"/>
                </a:lnTo>
                <a:lnTo>
                  <a:pt x="2483515" y="3744877"/>
                </a:lnTo>
                <a:lnTo>
                  <a:pt x="2511675" y="3712897"/>
                </a:lnTo>
                <a:lnTo>
                  <a:pt x="2539506" y="3680647"/>
                </a:lnTo>
                <a:lnTo>
                  <a:pt x="2567019" y="3648133"/>
                </a:lnTo>
                <a:lnTo>
                  <a:pt x="2594227" y="3615361"/>
                </a:lnTo>
                <a:lnTo>
                  <a:pt x="2621140" y="3582338"/>
                </a:lnTo>
                <a:lnTo>
                  <a:pt x="2647770" y="3549071"/>
                </a:lnTo>
                <a:lnTo>
                  <a:pt x="2674129" y="3515565"/>
                </a:lnTo>
                <a:lnTo>
                  <a:pt x="2700229" y="3481828"/>
                </a:lnTo>
                <a:lnTo>
                  <a:pt x="2726082" y="3447865"/>
                </a:lnTo>
                <a:lnTo>
                  <a:pt x="2751698" y="3413684"/>
                </a:lnTo>
                <a:lnTo>
                  <a:pt x="2777091" y="3379290"/>
                </a:lnTo>
                <a:lnTo>
                  <a:pt x="2802271" y="3344691"/>
                </a:lnTo>
                <a:lnTo>
                  <a:pt x="2827250" y="3309893"/>
                </a:lnTo>
                <a:lnTo>
                  <a:pt x="2876653" y="3239724"/>
                </a:lnTo>
                <a:lnTo>
                  <a:pt x="2925393" y="3168836"/>
                </a:lnTo>
                <a:lnTo>
                  <a:pt x="2973563" y="3097281"/>
                </a:lnTo>
                <a:lnTo>
                  <a:pt x="3021258" y="3025110"/>
                </a:lnTo>
                <a:lnTo>
                  <a:pt x="3068571" y="2952375"/>
                </a:lnTo>
                <a:lnTo>
                  <a:pt x="3139028" y="2842329"/>
                </a:lnTo>
                <a:lnTo>
                  <a:pt x="3420672" y="2394125"/>
                </a:lnTo>
                <a:lnTo>
                  <a:pt x="3492616" y="2280944"/>
                </a:lnTo>
                <a:lnTo>
                  <a:pt x="3541250" y="2205422"/>
                </a:lnTo>
                <a:lnTo>
                  <a:pt x="3621928" y="2081094"/>
                </a:lnTo>
                <a:lnTo>
                  <a:pt x="3705424" y="1950584"/>
                </a:lnTo>
                <a:lnTo>
                  <a:pt x="3981389" y="1513988"/>
                </a:lnTo>
                <a:lnTo>
                  <a:pt x="4064634" y="1383871"/>
                </a:lnTo>
                <a:lnTo>
                  <a:pt x="4120525" y="1297666"/>
                </a:lnTo>
                <a:lnTo>
                  <a:pt x="4176838" y="1212012"/>
                </a:lnTo>
                <a:lnTo>
                  <a:pt x="4233661" y="1127013"/>
                </a:lnTo>
                <a:lnTo>
                  <a:pt x="4291083" y="1042769"/>
                </a:lnTo>
                <a:lnTo>
                  <a:pt x="4320047" y="1000963"/>
                </a:lnTo>
                <a:lnTo>
                  <a:pt x="4349195" y="959384"/>
                </a:lnTo>
                <a:lnTo>
                  <a:pt x="4378536" y="918045"/>
                </a:lnTo>
                <a:lnTo>
                  <a:pt x="4408084" y="876959"/>
                </a:lnTo>
                <a:lnTo>
                  <a:pt x="4437848" y="836139"/>
                </a:lnTo>
                <a:lnTo>
                  <a:pt x="4467841" y="795597"/>
                </a:lnTo>
                <a:lnTo>
                  <a:pt x="4498072" y="755346"/>
                </a:lnTo>
                <a:lnTo>
                  <a:pt x="4528554" y="715400"/>
                </a:lnTo>
                <a:lnTo>
                  <a:pt x="4559298" y="675770"/>
                </a:lnTo>
                <a:lnTo>
                  <a:pt x="4590314" y="636470"/>
                </a:lnTo>
                <a:lnTo>
                  <a:pt x="4621614" y="597512"/>
                </a:lnTo>
                <a:lnTo>
                  <a:pt x="4653209" y="558910"/>
                </a:lnTo>
                <a:lnTo>
                  <a:pt x="4685110" y="520675"/>
                </a:lnTo>
                <a:lnTo>
                  <a:pt x="4717329" y="482821"/>
                </a:lnTo>
                <a:lnTo>
                  <a:pt x="4749876" y="445361"/>
                </a:lnTo>
                <a:lnTo>
                  <a:pt x="4782763" y="408306"/>
                </a:lnTo>
                <a:lnTo>
                  <a:pt x="4816000" y="371671"/>
                </a:lnTo>
                <a:lnTo>
                  <a:pt x="4849600" y="335468"/>
                </a:lnTo>
                <a:lnTo>
                  <a:pt x="4883573" y="299710"/>
                </a:lnTo>
                <a:lnTo>
                  <a:pt x="4917930" y="264408"/>
                </a:lnTo>
                <a:lnTo>
                  <a:pt x="4952683" y="229577"/>
                </a:lnTo>
                <a:lnTo>
                  <a:pt x="4987842" y="195229"/>
                </a:lnTo>
                <a:lnTo>
                  <a:pt x="5023420" y="161377"/>
                </a:lnTo>
                <a:lnTo>
                  <a:pt x="5059426" y="128033"/>
                </a:lnTo>
                <a:lnTo>
                  <a:pt x="5095872" y="95211"/>
                </a:lnTo>
                <a:lnTo>
                  <a:pt x="5132770" y="62923"/>
                </a:lnTo>
                <a:lnTo>
                  <a:pt x="5170131" y="31181"/>
                </a:lnTo>
                <a:lnTo>
                  <a:pt x="5207965" y="0"/>
                </a:lnTo>
                <a:close/>
              </a:path>
            </a:pathLst>
          </a:custGeom>
          <a:solidFill>
            <a:srgbClr val="2C3051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0BA01036-CF3D-F79C-3679-AD4406B88BE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42" y="6076056"/>
            <a:ext cx="1960159" cy="679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9223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915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344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410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495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E7F54-09D1-4AC2-8664-FA910D05467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2F3F0-6D10-4ECF-8AEB-C05705E549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9051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582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page with logo and page n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E6D71C-ACD7-49D2-9689-F9C4024FAC38}" type="slidenum">
              <a:rPr lang="en-IE" smtClean="0"/>
              <a:pPr/>
              <a:t>‹#›</a:t>
            </a:fld>
            <a:endParaRPr lang="en-I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14337" y="456139"/>
            <a:ext cx="11160125" cy="70802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6259205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222408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2632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053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921118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983542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632338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553608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9605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4009608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333999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87646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45969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99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101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2040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596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E7F54-09D1-4AC2-8664-FA910D05467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3/202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C2F3F0-6D10-4ECF-8AEB-C05705E5499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309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311662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694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9064606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678702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4414663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2125533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6964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/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0279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2830586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9625368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/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21359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94399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571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461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378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957959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579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081166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021628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785695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318261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985123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590276285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0320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16313218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585853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482094774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155633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97237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49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0297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882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738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7334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7128" y="1592263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23324565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541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6" y="1988840"/>
            <a:ext cx="11616268" cy="381586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218082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86346" y="2060848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2324847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7" y="2492897"/>
            <a:ext cx="5664117" cy="3311810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40016" y="2492897"/>
            <a:ext cx="5664117" cy="331181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9616995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287867" y="2457451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56133" y="2457450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272000" y="2457449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778573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17948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747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932663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472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429769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97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7499208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8447792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799856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446059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9285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626750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816926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352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214876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3989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463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510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181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B29A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567977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B29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031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966920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347571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pos="7499">
          <p15:clr>
            <a:srgbClr val="A4A3A4"/>
          </p15:clr>
        </p15:guide>
        <p15:guide id="8" pos="181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57870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pos="181">
          <p15:clr>
            <a:srgbClr val="A4A3A4"/>
          </p15:clr>
        </p15:guide>
        <p15:guide id="4" pos="7499">
          <p15:clr>
            <a:srgbClr val="A4A3A4"/>
          </p15:clr>
        </p15:guide>
        <p15:guide id="5" orient="horz" pos="3634">
          <p15:clr>
            <a:srgbClr val="A4A3A4"/>
          </p15:clr>
        </p15:guide>
        <p15:guide id="6" orient="horz" pos="1049">
          <p15:clr>
            <a:srgbClr val="A4A3A4"/>
          </p15:clr>
        </p15:guide>
        <p15:guide id="7" pos="3749">
          <p15:clr>
            <a:srgbClr val="A4A3A4"/>
          </p15:clr>
        </p15:guide>
        <p15:guide id="8" pos="393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555230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2637336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1480">
          <p15:clr>
            <a:srgbClr val="A4A3A4"/>
          </p15:clr>
        </p15:guide>
        <p15:guide id="5" orient="horz" pos="1548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pos="181">
          <p15:clr>
            <a:srgbClr val="A4A3A4"/>
          </p15:clr>
        </p15:guide>
        <p15:guide id="8" pos="7499">
          <p15:clr>
            <a:srgbClr val="A4A3A4"/>
          </p15:clr>
        </p15:guide>
        <p15:guide id="9" pos="3931">
          <p15:clr>
            <a:srgbClr val="A4A3A4"/>
          </p15:clr>
        </p15:guide>
        <p15:guide id="10" pos="3749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/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7563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2067490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solidFill>
                    <a:srgbClr val="3A3A3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solidFill>
                    <a:srgbClr val="3A3A3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solidFill>
                    <a:srgbClr val="3A3A3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solidFill>
                    <a:srgbClr val="3A3A3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solidFill>
                    <a:srgbClr val="3A3A3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solidFill>
                    <a:srgbClr val="3A3A3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solidFill>
                    <a:srgbClr val="3A3A3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solidFill>
                    <a:srgbClr val="3A3A3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solidFill>
                    <a:srgbClr val="3A3A3F"/>
                  </a:solidFill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1490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/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14582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58659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rgbClr val="3A3A3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rgbClr val="3A3A3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rgbClr val="3A3A3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rgbClr val="3A3A3F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rgbClr val="3A3A3F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82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B29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567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B29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066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1F40A2-EF88-4C14-85F4-E5194CE7BE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333DA2-9437-49D7-8A82-7C37F69BAEC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E20EC9-F48A-4AB2-9DC3-2128F81B4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9F6A4E-9950-49D7-9A9E-CF4D9B88D58B}" type="datetimeFigureOut">
              <a:rPr lang="en-GB" smtClean="0">
                <a:solidFill>
                  <a:srgbClr val="3A3A3F"/>
                </a:solidFill>
              </a:rPr>
              <a:pPr/>
              <a:t>03/12/2024</a:t>
            </a:fld>
            <a:endParaRPr lang="en-GB">
              <a:solidFill>
                <a:srgbClr val="3A3A3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48EA6E-B0ED-4B8E-A4FA-CFDC04C53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3A3A3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516F50-9919-4511-AEE9-7C235D73C2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2F1958-9077-45D8-9F5C-D119516E6EB2}" type="slidenum">
              <a:rPr lang="en-GB" smtClean="0">
                <a:solidFill>
                  <a:srgbClr val="3A3A3F"/>
                </a:solidFill>
              </a:rPr>
              <a:pPr/>
              <a:t>‹#›</a:t>
            </a:fld>
            <a:endParaRPr lang="en-GB">
              <a:solidFill>
                <a:srgbClr val="3A3A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102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02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theme" Target="../theme/theme10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3.xml"/><Relationship Id="rId16" Type="http://schemas.openxmlformats.org/officeDocument/2006/relationships/theme" Target="../theme/theme2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1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4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image" Target="../media/image6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66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86.xml"/><Relationship Id="rId16" Type="http://schemas.openxmlformats.org/officeDocument/2006/relationships/theme" Target="../theme/theme9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6.emf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36664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38" progId="TCLayout.ActiveDocument.1">
                  <p:embed/>
                </p:oleObj>
              </mc:Choice>
              <mc:Fallback>
                <p:oleObj name="think-cell Folie" r:id="rId4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" t="35785" r="10060" b="21055"/>
          <a:stretch/>
        </p:blipFill>
        <p:spPr>
          <a:xfrm>
            <a:off x="480000" y="1944000"/>
            <a:ext cx="11712000" cy="3600000"/>
          </a:xfrm>
          <a:prstGeom prst="rect">
            <a:avLst/>
          </a:prstGeom>
        </p:spPr>
      </p:pic>
      <p:sp>
        <p:nvSpPr>
          <p:cNvPr id="4" name="Textplatzhalter 2"/>
          <p:cNvSpPr>
            <a:spLocks noGrp="1"/>
          </p:cNvSpPr>
          <p:nvPr>
            <p:ph type="body" idx="1"/>
          </p:nvPr>
        </p:nvSpPr>
        <p:spPr>
          <a:xfrm>
            <a:off x="479999" y="476672"/>
            <a:ext cx="10154344" cy="5861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hange </a:t>
            </a:r>
            <a:r>
              <a:rPr lang="de-DE" err="1"/>
              <a:t>cover</a:t>
            </a:r>
            <a:r>
              <a:rPr lang="de-DE"/>
              <a:t> </a:t>
            </a:r>
            <a:r>
              <a:rPr lang="de-DE" err="1"/>
              <a:t>picture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26410D8-4A3A-45E2-81A1-C9D4C6C6621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16380" y="5805264"/>
            <a:ext cx="2408534" cy="91009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CFF8BA4-9DA2-4974-94C2-B3C3C21E4193}"/>
              </a:ext>
            </a:extLst>
          </p:cNvPr>
          <p:cNvSpPr/>
          <p:nvPr userDrawn="1"/>
        </p:nvSpPr>
        <p:spPr>
          <a:xfrm flipH="1">
            <a:off x="-1" y="1944000"/>
            <a:ext cx="480000" cy="3600000"/>
          </a:xfrm>
          <a:prstGeom prst="rect">
            <a:avLst/>
          </a:prstGeom>
          <a:gradFill>
            <a:gsLst>
              <a:gs pos="0">
                <a:schemeClr val="tx1">
                  <a:lumMod val="10000"/>
                  <a:lumOff val="90000"/>
                </a:schemeClr>
              </a:gs>
              <a:gs pos="100000">
                <a:schemeClr val="bg2">
                  <a:lumMod val="95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3C391A-CDC4-8153-415D-3BAF25820D7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06DEEB5-6E0F-1E8F-42C1-32E689EC3AF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2311757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chemeClr val="accent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26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63">
          <p15:clr>
            <a:srgbClr val="F26B43"/>
          </p15:clr>
        </p15:guide>
        <p15:guide id="2" pos="241">
          <p15:clr>
            <a:srgbClr val="F26B43"/>
          </p15:clr>
        </p15:guide>
        <p15:guide id="3" orient="horz" pos="2999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EE713E1-1D72-BDFF-5F61-C269318AC6A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6B0F0CF-928F-B91B-5BB1-C09EEFEFD09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1069219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9" r:id="rId1"/>
    <p:sldLayoutId id="2147484450" r:id="rId2"/>
    <p:sldLayoutId id="2147484451" r:id="rId3"/>
    <p:sldLayoutId id="2147484452" r:id="rId4"/>
    <p:sldLayoutId id="2147484453" r:id="rId5"/>
    <p:sldLayoutId id="2147484454" r:id="rId6"/>
    <p:sldLayoutId id="2147484455" r:id="rId7"/>
    <p:sldLayoutId id="2147484456" r:id="rId8"/>
    <p:sldLayoutId id="2147484457" r:id="rId9"/>
    <p:sldLayoutId id="2147484458" r:id="rId10"/>
    <p:sldLayoutId id="2147484459" r:id="rId11"/>
    <p:sldLayoutId id="2147484460" r:id="rId12"/>
    <p:sldLayoutId id="2147484461" r:id="rId13"/>
    <p:sldLayoutId id="2147484462" r:id="rId14"/>
    <p:sldLayoutId id="2147484463" r:id="rId15"/>
    <p:sldLayoutId id="2147484464" r:id="rId16"/>
    <p:sldLayoutId id="2147484465" r:id="rId17"/>
    <p:sldLayoutId id="2147484466" r:id="rId18"/>
    <p:sldLayoutId id="2147484467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46944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38" imgH="338" progId="TCLayout.ActiveDocument.1">
                  <p:embed/>
                </p:oleObj>
              </mc:Choice>
              <mc:Fallback>
                <p:oleObj name="think-cell Folie" r:id="rId18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E534748-1715-F287-B95F-8E5C2C40328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C9C1D1C3-6131-1771-E318-22D8AE99B47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159032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76" r:id="rId2"/>
    <p:sldLayoutId id="2147483731" r:id="rId3"/>
    <p:sldLayoutId id="2147483732" r:id="rId4"/>
    <p:sldLayoutId id="2147483733" r:id="rId5"/>
    <p:sldLayoutId id="2147483742" r:id="rId6"/>
    <p:sldLayoutId id="2147483804" r:id="rId7"/>
    <p:sldLayoutId id="2147483805" r:id="rId8"/>
    <p:sldLayoutId id="2147483807" r:id="rId9"/>
    <p:sldLayoutId id="2147483808" r:id="rId10"/>
    <p:sldLayoutId id="2147483736" r:id="rId11"/>
    <p:sldLayoutId id="2147483780" r:id="rId12"/>
    <p:sldLayoutId id="2147483771" r:id="rId13"/>
    <p:sldLayoutId id="2147483775" r:id="rId14"/>
    <p:sldLayoutId id="214748382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2977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text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level</a:t>
            </a:r>
            <a:endParaRPr lang="de-DE"/>
          </a:p>
          <a:p>
            <a:pPr lvl="4"/>
            <a:r>
              <a:rPr lang="de-DE" err="1"/>
              <a:t>Fifth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277E98C-25D4-589F-14A8-670B15461E7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2D340888-C6B6-91D7-2CD1-3AD99B6C6CD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375376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5533470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38" imgH="338" progId="TCLayout.ActiveDocument.1">
                  <p:embed/>
                </p:oleObj>
              </mc:Choice>
              <mc:Fallback>
                <p:oleObj name="think-cell Folie" r:id="rId18" imgW="338" imgH="33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C75D855-F221-A824-2F07-0230C9658BB0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AB2BF56-73C8-88B1-BDE9-9417FC819C1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2986952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  <p:sldLayoutId id="2147484015" r:id="rId12"/>
    <p:sldLayoutId id="2147484016" r:id="rId13"/>
    <p:sldLayoutId id="2147484017" r:id="rId14"/>
    <p:sldLayoutId id="2147484018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83335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D5B6BA-D7B4-E127-CEA3-BC71B381184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63BCDB4-0E06-2893-7463-D65BD36804B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4272210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DCD325E-F944-A54C-C80F-612D5CDE20ED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C8C86E23-83D0-87A7-64D8-C0B7F577359F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2674458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9" r:id="rId1"/>
    <p:sldLayoutId id="2147484320" r:id="rId2"/>
    <p:sldLayoutId id="2147484321" r:id="rId3"/>
    <p:sldLayoutId id="2147484322" r:id="rId4"/>
    <p:sldLayoutId id="2147484323" r:id="rId5"/>
    <p:sldLayoutId id="2147484324" r:id="rId6"/>
    <p:sldLayoutId id="2147484325" r:id="rId7"/>
    <p:sldLayoutId id="2147484326" r:id="rId8"/>
    <p:sldLayoutId id="2147484327" r:id="rId9"/>
    <p:sldLayoutId id="2147484328" r:id="rId10"/>
    <p:sldLayoutId id="2147484329" r:id="rId11"/>
    <p:sldLayoutId id="2147484330" r:id="rId12"/>
    <p:sldLayoutId id="2147484331" r:id="rId13"/>
    <p:sldLayoutId id="2147484332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87354" y="2523218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E3AFFB2-EC22-70F1-D7AC-94F8B2E7F12B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F4C2CEC-EC00-E429-AAE3-629FB580289E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1731538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8FCCF98-9128-A7ED-79D1-4AA4491285E9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5D1B18F-EC95-831E-E470-15E28126B52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365050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4" r:id="rId1"/>
    <p:sldLayoutId id="2147484345" r:id="rId2"/>
    <p:sldLayoutId id="2147484346" r:id="rId3"/>
    <p:sldLayoutId id="2147484347" r:id="rId4"/>
    <p:sldLayoutId id="2147484348" r:id="rId5"/>
    <p:sldLayoutId id="2147484349" r:id="rId6"/>
    <p:sldLayoutId id="2147484350" r:id="rId7"/>
    <p:sldLayoutId id="2147484351" r:id="rId8"/>
    <p:sldLayoutId id="2147484352" r:id="rId9"/>
    <p:sldLayoutId id="2147484353" r:id="rId10"/>
    <p:sldLayoutId id="2147484354" r:id="rId11"/>
    <p:sldLayoutId id="2147484355" r:id="rId12"/>
    <p:sldLayoutId id="2147484356" r:id="rId13"/>
    <p:sldLayoutId id="214748435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60" imgH="360" progId="TCLayout.ActiveDocument.1">
                  <p:embed/>
                </p:oleObj>
              </mc:Choice>
              <mc:Fallback>
                <p:oleObj name="think-cell Folie" r:id="rId18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>
                <a:solidFill>
                  <a:srgbClr val="2054A5"/>
                </a:solidFill>
              </a:rPr>
              <a:t> </a:t>
            </a:r>
            <a:fld id="{9D8EEF28-5ABD-4429-9AD9-DE956F602A14}" type="slidenum">
              <a:rPr lang="de-DE">
                <a:solidFill>
                  <a:srgbClr val="3A3A3F">
                    <a:lumMod val="50000"/>
                  </a:srgbClr>
                </a:solidFill>
              </a:rPr>
              <a:pPr algn="r"/>
              <a:t>‹#›</a:t>
            </a:fld>
            <a:endParaRPr lang="de-DE">
              <a:solidFill>
                <a:srgbClr val="3A3A3F">
                  <a:lumMod val="50000"/>
                </a:srgb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986EDB5-F78B-004D-7898-3D5EBB78E7D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97475" y="6705600"/>
            <a:ext cx="182562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SC - Uso INTERNO / INTERNAL Us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2317338-B522-C11A-3B05-3066A4D6973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5683250" y="63500"/>
            <a:ext cx="854075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n (Internal)</a:t>
            </a:r>
          </a:p>
        </p:txBody>
      </p:sp>
    </p:spTree>
    <p:extLst>
      <p:ext uri="{BB962C8B-B14F-4D97-AF65-F5344CB8AC3E}">
        <p14:creationId xmlns:p14="http://schemas.microsoft.com/office/powerpoint/2010/main" val="4228602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437" r:id="rId5"/>
    <p:sldLayoutId id="2147484438" r:id="rId6"/>
    <p:sldLayoutId id="2147484439" r:id="rId7"/>
    <p:sldLayoutId id="2147484440" r:id="rId8"/>
    <p:sldLayoutId id="2147484441" r:id="rId9"/>
    <p:sldLayoutId id="2147484442" r:id="rId10"/>
    <p:sldLayoutId id="2147484443" r:id="rId11"/>
    <p:sldLayoutId id="2147484444" r:id="rId12"/>
    <p:sldLayoutId id="2147484445" r:id="rId13"/>
    <p:sldLayoutId id="2147484446" r:id="rId14"/>
    <p:sldLayoutId id="2147484447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orient="horz" pos="187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04536EDC-D54D-40A2-7360-9554D9F68C13}"/>
              </a:ext>
            </a:extLst>
          </p:cNvPr>
          <p:cNvGrpSpPr/>
          <p:nvPr/>
        </p:nvGrpSpPr>
        <p:grpSpPr>
          <a:xfrm>
            <a:off x="8235020" y="2140956"/>
            <a:ext cx="3539452" cy="4075283"/>
            <a:chOff x="417528" y="2250013"/>
            <a:chExt cx="3539452" cy="407528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B768D06-BBDD-6CA4-65C4-4D59B23045F6}"/>
                </a:ext>
              </a:extLst>
            </p:cNvPr>
            <p:cNvSpPr/>
            <p:nvPr/>
          </p:nvSpPr>
          <p:spPr>
            <a:xfrm>
              <a:off x="417528" y="2659309"/>
              <a:ext cx="3539452" cy="366598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Although ENTSO-E appreciates ACER amendments, </a:t>
              </a:r>
              <a:r>
                <a:rPr lang="nl-BE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there is a </a:t>
              </a:r>
              <a:r>
                <a:rPr lang="en-GB" sz="1200" b="1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need for further clarification on the use of DMD's data </a:t>
              </a: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(in compliance with Art.7b of EMDR) and the use of smart meter (in line with national framework).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Further </a:t>
              </a:r>
              <a:r>
                <a:rPr lang="en-GB" sz="1200" b="1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alignment is needed to underline that ex-ante PQ shall be default process for balancing</a:t>
              </a: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. With current draft, it is only possible if there is a harmonized PQ process, and it is unclear what happens when NC DR enters into force and there is no harmonized PQ process yet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l-BE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There is still a need to distinguish requirements in </a:t>
              </a:r>
              <a:r>
                <a:rPr lang="en-GB" sz="1200" b="1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specific national TCs for local and balancing service providers separately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b="1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5571774-E705-7518-5CCA-EDB2B4AA9D9E}"/>
                </a:ext>
              </a:extLst>
            </p:cNvPr>
            <p:cNvSpPr/>
            <p:nvPr/>
          </p:nvSpPr>
          <p:spPr>
            <a:xfrm>
              <a:off x="417528" y="2250013"/>
              <a:ext cx="3539452" cy="40929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nl-BE" sz="12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NCERNING</a:t>
              </a:r>
              <a:endParaRPr lang="en-GB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B9865F8-D30B-BA06-8024-ABDC87A1E2FB}"/>
              </a:ext>
            </a:extLst>
          </p:cNvPr>
          <p:cNvGrpSpPr/>
          <p:nvPr/>
        </p:nvGrpSpPr>
        <p:grpSpPr>
          <a:xfrm>
            <a:off x="4326274" y="2151111"/>
            <a:ext cx="3539452" cy="4065129"/>
            <a:chOff x="417528" y="2250013"/>
            <a:chExt cx="3539452" cy="406512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8611C81-4A77-23C4-3D3E-F6F7DF53F14E}"/>
                </a:ext>
              </a:extLst>
            </p:cNvPr>
            <p:cNvSpPr/>
            <p:nvPr/>
          </p:nvSpPr>
          <p:spPr>
            <a:xfrm>
              <a:off x="417528" y="2659309"/>
              <a:ext cx="3539452" cy="36558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ACER presented the </a:t>
              </a:r>
              <a:r>
                <a:rPr lang="en-GB" sz="1200" b="1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difference between the assignation </a:t>
              </a: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(by Member State) </a:t>
              </a:r>
              <a:r>
                <a:rPr lang="en-GB" sz="1200" b="1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and delegation </a:t>
              </a: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(by System Operators) of tasks. </a:t>
              </a:r>
              <a:r>
                <a:rPr lang="en-GB" sz="1200" b="1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The position was appreciated by ENTSO-E.</a:t>
              </a:r>
              <a:endParaRPr lang="en-GB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b="1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On Governance matters ACER changes were appreciated by ENTSO-E</a:t>
              </a: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. However, harmonization of Union-wide methodologies will impact the amendment of the national terms and condition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 </a:t>
              </a:r>
            </a:p>
            <a:p>
              <a:endParaRPr lang="nl-BE" sz="1200" dirty="0">
                <a:solidFill>
                  <a:srgbClr val="FFFF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endParaRPr lang="en-GB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4699335-E6F7-87C6-EA9F-25B0237AC6E3}"/>
                </a:ext>
              </a:extLst>
            </p:cNvPr>
            <p:cNvSpPr/>
            <p:nvPr/>
          </p:nvSpPr>
          <p:spPr>
            <a:xfrm>
              <a:off x="417528" y="2250013"/>
              <a:ext cx="3539452" cy="40929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nl-BE" sz="12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EUTRAL</a:t>
              </a:r>
              <a:endParaRPr lang="en-GB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193749D-7110-AE92-E5A8-861BF28705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748" y="361029"/>
            <a:ext cx="11617788" cy="356467"/>
          </a:xfrm>
        </p:spPr>
        <p:txBody>
          <a:bodyPr>
            <a:normAutofit fontScale="90000"/>
          </a:bodyPr>
          <a:lstStyle/>
          <a:p>
            <a:r>
              <a:rPr lang="en-US"/>
              <a:t>NC Demand Response (NC DR)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83E33B-9569-A99E-6D99-2E88B3588EC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528" y="671268"/>
            <a:ext cx="11617788" cy="442428"/>
          </a:xfrm>
        </p:spPr>
        <p:txBody>
          <a:bodyPr>
            <a:normAutofit/>
          </a:bodyPr>
          <a:lstStyle/>
          <a:p>
            <a:r>
              <a:rPr lang="en-GB" b="1" dirty="0">
                <a:latin typeface="Calibri"/>
                <a:cs typeface="Calibri"/>
              </a:rPr>
              <a:t>Briefing from ACER Ljubljana Meetings (20-21-22 November)   </a:t>
            </a:r>
            <a:endParaRPr lang="en-US" dirty="0"/>
          </a:p>
        </p:txBody>
      </p:sp>
      <p:sp>
        <p:nvSpPr>
          <p:cNvPr id="12" name="Marcador de texto 12">
            <a:extLst>
              <a:ext uri="{FF2B5EF4-FFF2-40B4-BE49-F238E27FC236}">
                <a16:creationId xmlns:a16="http://schemas.microsoft.com/office/drawing/2014/main" id="{0B132449-D0B5-C0A0-19E2-0E42AFA7934B}"/>
              </a:ext>
            </a:extLst>
          </p:cNvPr>
          <p:cNvSpPr txBox="1">
            <a:spLocks/>
          </p:cNvSpPr>
          <p:nvPr/>
        </p:nvSpPr>
        <p:spPr>
          <a:xfrm>
            <a:off x="292079" y="1205822"/>
            <a:ext cx="11617787" cy="807536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lvl="2" algn="ctr">
              <a:lnSpc>
                <a:spcPct val="100000"/>
              </a:lnSpc>
              <a:buClr>
                <a:srgbClr val="0F92FF"/>
              </a:buClr>
            </a:pPr>
            <a:r>
              <a:rPr lang="en-GB" sz="1400" i="1" dirty="0">
                <a:latin typeface="Calibri"/>
                <a:cs typeface="Calibri"/>
              </a:rPr>
              <a:t>ENTSO-E, alongside with all the NC DR drafting committee external stakeholders, received an invitation from ACER to three-days meetings in Ljubljana. These meetings are part of the ACER’s foreseen second half of November process to further interact with the drafting committee members. </a:t>
            </a:r>
            <a:endParaRPr lang="nl-BE" sz="1400" i="1" dirty="0">
              <a:latin typeface="Calibri"/>
              <a:cs typeface="Calibri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066CE1F-CB2D-3415-9C22-E4EEBB40FE1D}"/>
              </a:ext>
            </a:extLst>
          </p:cNvPr>
          <p:cNvGrpSpPr/>
          <p:nvPr/>
        </p:nvGrpSpPr>
        <p:grpSpPr>
          <a:xfrm>
            <a:off x="417528" y="2140956"/>
            <a:ext cx="3539452" cy="4075285"/>
            <a:chOff x="417528" y="2250013"/>
            <a:chExt cx="3539452" cy="407528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321A8B4-7BB8-3BA7-A442-5D9B55832618}"/>
                </a:ext>
              </a:extLst>
            </p:cNvPr>
            <p:cNvSpPr/>
            <p:nvPr/>
          </p:nvSpPr>
          <p:spPr>
            <a:xfrm>
              <a:off x="417528" y="2659309"/>
              <a:ext cx="3539452" cy="36659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Distinction between the marketplaces was deemed important and </a:t>
              </a:r>
              <a:r>
                <a:rPr lang="en-GB" sz="1200" b="1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forwarding bids </a:t>
              </a: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from one market timeframe to another </a:t>
              </a:r>
              <a:r>
                <a:rPr lang="en-GB" sz="1200" b="1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was not supported </a:t>
              </a:r>
              <a:r>
                <a:rPr lang="en-GB" sz="1200" dirty="0">
                  <a:solidFill>
                    <a:schemeClr val="tx1"/>
                  </a:solidFill>
                  <a:latin typeface="Calibri"/>
                  <a:ea typeface="Calibri"/>
                  <a:cs typeface="Calibri"/>
                </a:rPr>
                <a:t>by many stakeholders.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l-BE" sz="1200" dirty="0">
                <a:solidFill>
                  <a:schemeClr val="tx1"/>
                </a:solidFill>
                <a:latin typeface="Calibri"/>
                <a:ea typeface="Calibri"/>
                <a:cs typeface="Calibri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t was agreed with DSOs and ACER that </a:t>
              </a:r>
              <a:r>
                <a:rPr lang="en-GB" sz="1200" b="1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he data exchange requirements</a:t>
              </a:r>
              <a:r>
                <a:rPr lang="en-GB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et in Art.59, 60, 61 of NC DR </a:t>
              </a:r>
              <a:r>
                <a:rPr lang="en-GB" sz="1200" b="1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hould be complementary to </a:t>
              </a:r>
              <a:r>
                <a:rPr lang="en-GB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lready implemented data exchanges in </a:t>
              </a:r>
              <a:r>
                <a:rPr lang="en-GB" sz="1200" b="1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 Regulation (SOGL) </a:t>
              </a:r>
              <a:r>
                <a:rPr lang="en-GB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d specified for local service providers.​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upported by DSOs and agreed in the meetings that there should be </a:t>
              </a:r>
              <a:r>
                <a:rPr lang="en-GB" sz="1200" b="1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istinction between active and reactive power for voltage control</a:t>
              </a:r>
              <a:r>
                <a:rPr lang="en-GB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GB" sz="12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GB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n non-frequency ancillary services, it was concluded that </a:t>
              </a:r>
              <a:r>
                <a:rPr lang="en-GB" sz="1200" b="1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ertia should be out of scope of NC DR</a:t>
              </a:r>
              <a:r>
                <a:rPr lang="en-GB" sz="1200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 </a:t>
              </a:r>
              <a:endParaRPr lang="en-GB" sz="12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789BB28-AD85-DD8A-506C-B30C3B17AE49}"/>
                </a:ext>
              </a:extLst>
            </p:cNvPr>
            <p:cNvSpPr/>
            <p:nvPr/>
          </p:nvSpPr>
          <p:spPr>
            <a:xfrm>
              <a:off x="417528" y="2250013"/>
              <a:ext cx="3539452" cy="409297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r>
                <a:rPr lang="nl-BE" sz="1200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OSITIVE</a:t>
              </a:r>
              <a:endParaRPr lang="en-GB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1404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TSO-E Cover">
  <a:themeElements>
    <a:clrScheme name="ENTSO-E">
      <a:dk1>
        <a:srgbClr val="313131"/>
      </a:dk1>
      <a:lt1>
        <a:srgbClr val="FFFFFF"/>
      </a:lt1>
      <a:dk2>
        <a:srgbClr val="313131"/>
      </a:dk2>
      <a:lt2>
        <a:srgbClr val="FFFFFF"/>
      </a:lt2>
      <a:accent1>
        <a:srgbClr val="134094"/>
      </a:accent1>
      <a:accent2>
        <a:srgbClr val="EC6602"/>
      </a:accent2>
      <a:accent3>
        <a:srgbClr val="009992"/>
      </a:accent3>
      <a:accent4>
        <a:srgbClr val="FFCC00"/>
      </a:accent4>
      <a:accent5>
        <a:srgbClr val="707F86"/>
      </a:accent5>
      <a:accent6>
        <a:srgbClr val="A7B3B9"/>
      </a:accent6>
      <a:hlink>
        <a:srgbClr val="BF027F"/>
      </a:hlink>
      <a:folHlink>
        <a:srgbClr val="670F16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9B78231-BE7B-1A46-90BB-EF0882821398}" vid="{10644E23-6E93-4D4F-96D6-DF5F4F44004B}"/>
    </a:ext>
  </a:extLst>
</a:theme>
</file>

<file path=ppt/theme/theme10.xml><?xml version="1.0" encoding="utf-8"?>
<a:theme xmlns:a="http://schemas.openxmlformats.org/drawingml/2006/main" name="7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ppt/theme/theme1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9B78231-BE7B-1A46-90BB-EF0882821398}" vid="{9E3D5E57-3828-B144-A39F-2BEE5BAE535E}"/>
    </a:ext>
  </a:extLst>
</a:theme>
</file>

<file path=ppt/theme/theme3.xml><?xml version="1.0" encoding="utf-8"?>
<a:theme xmlns:a="http://schemas.openxmlformats.org/drawingml/2006/main" name="3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9B78231-BE7B-1A46-90BB-EF0882821398}" vid="{9E3D5E57-3828-B144-A39F-2BEE5BAE535E}"/>
    </a:ext>
  </a:extLst>
</a:theme>
</file>

<file path=ppt/theme/theme4.xml><?xml version="1.0" encoding="utf-8"?>
<a:theme xmlns:a="http://schemas.openxmlformats.org/drawingml/2006/main" name="10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9B78231-BE7B-1A46-90BB-EF0882821398}" vid="{9E3D5E57-3828-B144-A39F-2BEE5BAE535E}"/>
    </a:ext>
  </a:extLst>
</a:theme>
</file>

<file path=ppt/theme/theme5.xml><?xml version="1.0" encoding="utf-8"?>
<a:theme xmlns:a="http://schemas.openxmlformats.org/drawingml/2006/main" name="17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9B78231-BE7B-1A46-90BB-EF0882821398}" vid="{9E3D5E57-3828-B144-A39F-2BEE5BAE535E}"/>
    </a:ext>
  </a:extLst>
</a:theme>
</file>

<file path=ppt/theme/theme6.xml><?xml version="1.0" encoding="utf-8"?>
<a:theme xmlns:a="http://schemas.openxmlformats.org/drawingml/2006/main" name="4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9B78231-BE7B-1A46-90BB-EF0882821398}" vid="{9E3D5E57-3828-B144-A39F-2BEE5BAE535E}"/>
    </a:ext>
  </a:extLst>
</a:theme>
</file>

<file path=ppt/theme/theme7.xml><?xml version="1.0" encoding="utf-8"?>
<a:theme xmlns:a="http://schemas.openxmlformats.org/drawingml/2006/main" name="5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New Template.pptx [Read-Only]" id="{C89BAF73-300B-4C19-BCEC-413470D96623}" vid="{FD253406-0429-4CAA-B156-3EEFD7D789E6}"/>
    </a:ext>
  </a:extLst>
</a:theme>
</file>

<file path=ppt/theme/theme8.xml><?xml version="1.0" encoding="utf-8"?>
<a:theme xmlns:a="http://schemas.openxmlformats.org/drawingml/2006/main" name="6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9B78231-BE7B-1A46-90BB-EF0882821398}" vid="{9E3D5E57-3828-B144-A39F-2BEE5BAE535E}"/>
    </a:ext>
  </a:extLst>
</a:theme>
</file>

<file path=ppt/theme/theme9.xml><?xml version="1.0" encoding="utf-8"?>
<a:theme xmlns:a="http://schemas.openxmlformats.org/drawingml/2006/main" name="18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9B78231-BE7B-1A46-90BB-EF0882821398}" vid="{9E3D5E57-3828-B144-A39F-2BEE5BAE535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4de09dad5264111a20e20f471ae31f1 xmlns="3c776123-ec7b-4edc-8e9f-0d374f085862">
      <Terms xmlns="http://schemas.microsoft.com/office/infopath/2007/PartnerControls"/>
    </k4de09dad5264111a20e20f471ae31f1>
    <f71fac3bfe2e40e99bddff02431e440c xmlns="3c776123-ec7b-4edc-8e9f-0d374f085862">
      <Terms xmlns="http://schemas.microsoft.com/office/infopath/2007/PartnerControls">
        <TermInfo xmlns="http://schemas.microsoft.com/office/infopath/2007/PartnerControls">
          <TermName xmlns="http://schemas.microsoft.com/office/infopath/2007/PartnerControls">Shared</TermName>
          <TermId xmlns="http://schemas.microsoft.com/office/infopath/2007/PartnerControls">04da8cfa-2b68-4725-9db5-e7b66ab623e6</TermId>
        </TermInfo>
      </Terms>
    </f71fac3bfe2e40e99bddff02431e440c>
    <MYENTSOE_SiteType xmlns="3c776123-ec7b-4edc-8e9f-0d374f085862">MYENTSOE</MYENTSOE_SiteType>
    <jac41b88019f40449e34eec8711f16f1 xmlns="3c776123-ec7b-4edc-8e9f-0d374f085862">
      <Terms xmlns="http://schemas.microsoft.com/office/infopath/2007/PartnerControls"/>
    </jac41b88019f40449e34eec8711f16f1>
    <i176f900700f4e828cbf0f748b513ce0 xmlns="3c776123-ec7b-4edc-8e9f-0d374f085862">
      <Terms xmlns="http://schemas.microsoft.com/office/infopath/2007/PartnerControls">
        <TermInfo xmlns="http://schemas.microsoft.com/office/infopath/2007/PartnerControls">
          <TermName xmlns="http://schemas.microsoft.com/office/infopath/2007/PartnerControls">Extranet</TermName>
          <TermId xmlns="http://schemas.microsoft.com/office/infopath/2007/PartnerControls">922fc1ba-0c8d-4fbf-b30d-83722d0f30f2</TermId>
        </TermInfo>
      </Terms>
    </i176f900700f4e828cbf0f748b513ce0>
    <TaxCatchAll xmlns="e3fb2008-9808-4f29-aa32-2f66631018ed">
      <Value>20</Value>
      <Value>19</Value>
      <Value>21</Value>
    </TaxCatchAll>
    <jfc93f28cc284604b8bd652a5de10289 xmlns="3c776123-ec7b-4edc-8e9f-0d374f085862">
      <Terms xmlns="http://schemas.microsoft.com/office/infopath/2007/PartnerControls"/>
    </jfc93f28cc284604b8bd652a5de10289>
    <e5de547193a84a2fbe5ea2fd6e08a346 xmlns="3c776123-ec7b-4edc-8e9f-0d374f085862">
      <Terms xmlns="http://schemas.microsoft.com/office/infopath/2007/PartnerControls">
        <TermInfo xmlns="http://schemas.microsoft.com/office/infopath/2007/PartnerControls">
          <TermName xmlns="http://schemas.microsoft.com/office/infopath/2007/PartnerControls">Board</TermName>
          <TermId xmlns="http://schemas.microsoft.com/office/infopath/2007/PartnerControls">6cf52795-9928-4b7b-a6e8-b4c224a978ea</TermId>
        </TermInfo>
      </Terms>
    </e5de547193a84a2fbe5ea2fd6e08a346>
    <ef1516636ad74d068e66637efd2df2a2 xmlns="3c776123-ec7b-4edc-8e9f-0d374f085862">
      <Terms xmlns="http://schemas.microsoft.com/office/infopath/2007/PartnerControls"/>
    </ef1516636ad74d068e66637efd2df2a2>
    <nab1121876684f7691cd533682cfae3d xmlns="3c776123-ec7b-4edc-8e9f-0d374f085862">
      <Terms xmlns="http://schemas.microsoft.com/office/infopath/2007/PartnerControls"/>
    </nab1121876684f7691cd533682cfae3d>
    <b44e3993012a470c9ef4d966c6f42d55 xmlns="3c776123-ec7b-4edc-8e9f-0d374f085862">
      <Terms xmlns="http://schemas.microsoft.com/office/infopath/2007/PartnerControls"/>
    </b44e3993012a470c9ef4d966c6f42d55>
    <p28392b516de433f9db5f62c41c8e6f4 xmlns="3c776123-ec7b-4edc-8e9f-0d374f085862">
      <Terms xmlns="http://schemas.microsoft.com/office/infopath/2007/PartnerControls"/>
    </p28392b516de433f9db5f62c41c8e6f4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5A166F7EC6A104587460E28C16FB3D4" ma:contentTypeVersion="35" ma:contentTypeDescription="Create a new document." ma:contentTypeScope="" ma:versionID="84f1d0c0be067ab905844dc22033ba0a">
  <xsd:schema xmlns:xsd="http://www.w3.org/2001/XMLSchema" xmlns:xs="http://www.w3.org/2001/XMLSchema" xmlns:p="http://schemas.microsoft.com/office/2006/metadata/properties" xmlns:ns2="3c776123-ec7b-4edc-8e9f-0d374f085862" xmlns:ns3="e3fb2008-9808-4f29-aa32-2f66631018ed" targetNamespace="http://schemas.microsoft.com/office/2006/metadata/properties" ma:root="true" ma:fieldsID="2c53b42c76f63396452fd209c3147d27" ns2:_="" ns3:_="">
    <xsd:import namespace="3c776123-ec7b-4edc-8e9f-0d374f085862"/>
    <xsd:import namespace="e3fb2008-9808-4f29-aa32-2f66631018e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YENTSOE_SiteType" minOccurs="0"/>
                <xsd:element ref="ns2:i176f900700f4e828cbf0f748b513ce0" minOccurs="0"/>
                <xsd:element ref="ns3:TaxCatchAll" minOccurs="0"/>
                <xsd:element ref="ns2:e5de547193a84a2fbe5ea2fd6e08a346" minOccurs="0"/>
                <xsd:element ref="ns2:nab1121876684f7691cd533682cfae3d" minOccurs="0"/>
                <xsd:element ref="ns2:k4de09dad5264111a20e20f471ae31f1" minOccurs="0"/>
                <xsd:element ref="ns2:jac41b88019f40449e34eec8711f16f1" minOccurs="0"/>
                <xsd:element ref="ns2:ef1516636ad74d068e66637efd2df2a2" minOccurs="0"/>
                <xsd:element ref="ns2:f71fac3bfe2e40e99bddff02431e440c" minOccurs="0"/>
                <xsd:element ref="ns2:jfc93f28cc284604b8bd652a5de10289" minOccurs="0"/>
                <xsd:element ref="ns2:b44e3993012a470c9ef4d966c6f42d55" minOccurs="0"/>
                <xsd:element ref="ns2:p28392b516de433f9db5f62c41c8e6f4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776123-ec7b-4edc-8e9f-0d374f08586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description="" ma:hidden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YENTSOE_SiteType" ma:index="16" nillable="true" ma:displayName="Site Type" ma:default="MYENTSOE" ma:internalName="MYENTSOE_SiteType">
      <xsd:simpleType>
        <xsd:restriction base="dms:Text"/>
      </xsd:simpleType>
    </xsd:element>
    <xsd:element name="i176f900700f4e828cbf0f748b513ce0" ma:index="18" nillable="true" ma:taxonomy="true" ma:internalName="i176f900700f4e828cbf0f748b513ce0" ma:taxonomyFieldName="MYENTSOE_PublicType" ma:displayName="Public Type" ma:default="-1;#Extranet|922fc1ba-0c8d-4fbf-b30d-83722d0f30f2" ma:fieldId="{2176f900-700f-4e82-8cbf-0f748b513ce0}" ma:sspId="0cf2b176-d4dc-4d18-8c95-51f9f2dafcd3" ma:termSetId="a0d7c562-4a8e-458a-9f8a-6a29e3d3b26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5de547193a84a2fbe5ea2fd6e08a346" ma:index="21" nillable="true" ma:taxonomy="true" ma:internalName="e5de547193a84a2fbe5ea2fd6e08a346" ma:taxonomyFieldName="MYENTSOE_Section" ma:displayName="Section" ma:default="-1;#Board|6cf52795-9928-4b7b-a6e8-b4c224a978ea" ma:fieldId="{e5de5471-93a8-4a2f-be5e-a2fd6e08a346}" ma:sspId="0cf2b176-d4dc-4d18-8c95-51f9f2dafcd3" ma:termSetId="ca6f290f-ffad-40e7-8c84-e8889b665443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ab1121876684f7691cd533682cfae3d" ma:index="23" nillable="true" ma:taxonomy="true" ma:internalName="nab1121876684f7691cd533682cfae3d" ma:taxonomyFieldName="MYENTSOE_Classification1" ma:displayName="Classification 1" ma:fieldId="{7ab11218-7668-4f76-91cd-533682cfae3d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4de09dad5264111a20e20f471ae31f1" ma:index="25" nillable="true" ma:taxonomy="true" ma:internalName="k4de09dad5264111a20e20f471ae31f1" ma:taxonomyFieldName="MYENTSOE_Classification2" ma:displayName="Classification 2" ma:fieldId="{44de09da-d526-4111-a20e-20f471ae31f1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ac41b88019f40449e34eec8711f16f1" ma:index="27" nillable="true" ma:taxonomy="true" ma:internalName="jac41b88019f40449e34eec8711f16f1" ma:taxonomyFieldName="MYENTSOE_Classification3" ma:displayName="Classification 3" ma:fieldId="{3ac41b88-019f-4044-9e34-eec8711f16f1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f1516636ad74d068e66637efd2df2a2" ma:index="29" nillable="true" ma:taxonomy="true" ma:internalName="ef1516636ad74d068e66637efd2df2a2" ma:taxonomyFieldName="MYENTSOE_Classification4" ma:displayName="Classification 4" ma:fieldId="{ef151663-6ad7-4d06-8e66-637efd2df2a2}" ma:sspId="0cf2b176-d4dc-4d18-8c95-51f9f2dafcd3" ma:termSetId="dedbf0d3-7411-4d77-a10b-23d4d399690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71fac3bfe2e40e99bddff02431e440c" ma:index="31" nillable="true" ma:taxonomy="true" ma:internalName="f71fac3bfe2e40e99bddff02431e440c" ma:taxonomyFieldName="MYENTSOE_SharingType" ma:displayName="Sharing Type" ma:default="-1;#Shared|04da8cfa-2b68-4725-9db5-e7b66ab623e6" ma:fieldId="{f71fac3b-fe2e-40e9-9bdd-ff02431e440c}" ma:sspId="0cf2b176-d4dc-4d18-8c95-51f9f2dafcd3" ma:termSetId="09b229b3-e0b6-423a-b819-7f93001a6e2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fc93f28cc284604b8bd652a5de10289" ma:index="33" nillable="true" ma:taxonomy="true" ma:internalName="jfc93f28cc284604b8bd652a5de10289" ma:taxonomyFieldName="Confidentiality" ma:displayName="Confidentiality" ma:fieldId="{3fc93f28-cc28-4604-b8bd-652a5de10289}" ma:sspId="0cf2b176-d4dc-4d18-8c95-51f9f2dafcd3" ma:termSetId="1aeb3a4d-5a56-4fc5-b0c8-230b3cd7bda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44e3993012a470c9ef4d966c6f42d55" ma:index="35" nillable="true" ma:taxonomy="true" ma:internalName="b44e3993012a470c9ef4d966c6f42d55" ma:taxonomyFieldName="MYENTSOE_DataClassification" ma:displayName="Data Classification" ma:fieldId="{b44e3993-012a-470c-9ef4-d966c6f42d55}" ma:sspId="0cf2b176-d4dc-4d18-8c95-51f9f2dafcd3" ma:termSetId="ed1fa8aa-003c-40ab-bfad-ae0429370d9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28392b516de433f9db5f62c41c8e6f4" ma:index="37" nillable="true" ma:taxonomy="true" ma:internalName="p28392b516de433f9db5f62c41c8e6f4" ma:taxonomyFieldName="MYENTSOE_DocumentClassification" ma:displayName="Document Classification" ma:fieldId="{928392b5-16de-433f-9db5-f62c41c8e6f4}" ma:sspId="0cf2b176-d4dc-4d18-8c95-51f9f2dafcd3" ma:termSetId="8b91b5eb-b01b-44d4-a921-6f52ae5aec30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fb2008-9808-4f29-aa32-2f66631018ed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905715ae-0d94-4a1d-8228-34e1ff3c78a1}" ma:internalName="TaxCatchAll" ma:showField="CatchAllData" ma:web="e3fb2008-9808-4f29-aa32-2f66631018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/>
</file>

<file path=customXml/itemProps1.xml><?xml version="1.0" encoding="utf-8"?>
<ds:datastoreItem xmlns:ds="http://schemas.openxmlformats.org/officeDocument/2006/customXml" ds:itemID="{821923F9-9675-4714-9719-F2933D30FED7}">
  <ds:schemaRefs>
    <ds:schemaRef ds:uri="http://schemas.openxmlformats.org/package/2006/metadata/core-properties"/>
    <ds:schemaRef ds:uri="http://schemas.microsoft.com/office/2006/documentManagement/types"/>
    <ds:schemaRef ds:uri="3c776123-ec7b-4edc-8e9f-0d374f085862"/>
    <ds:schemaRef ds:uri="http://purl.org/dc/terms/"/>
    <ds:schemaRef ds:uri="http://purl.org/dc/dcmitype/"/>
    <ds:schemaRef ds:uri="http://schemas.microsoft.com/office/infopath/2007/PartnerControls"/>
    <ds:schemaRef ds:uri="e3fb2008-9808-4f29-aa32-2f66631018ed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12068265-8020-4D1E-99B4-13452B3D5414}">
  <ds:schemaRefs>
    <ds:schemaRef ds:uri="3c776123-ec7b-4edc-8e9f-0d374f085862"/>
    <ds:schemaRef ds:uri="e3fb2008-9808-4f29-aa32-2f66631018e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58CE8238-7C01-42FB-BF1C-51BB8F8B0662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d65a070e-ad16-4345-879f-c1de6464f1fb}" enabled="1" method="Standard" siteId="{eccd734e-7022-4709-aba5-a5dd77929e27}" contentBits="2" removed="0"/>
  <clbl:label id="{eb769cfb-dd8b-4bb8-a400-4916379695bd}" enabled="1" method="Privileged" siteId="{d602ad75-52f3-4a9e-930c-683bb9414935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ntso-e new powerpoint light template</Template>
  <TotalTime>140</TotalTime>
  <Words>348</Words>
  <Application>Microsoft Office PowerPoint</Application>
  <PresentationFormat>Widescreen</PresentationFormat>
  <Paragraphs>2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8" baseType="lpstr">
      <vt:lpstr>Arial</vt:lpstr>
      <vt:lpstr>Avenir Black</vt:lpstr>
      <vt:lpstr>Avenir Next LT Pro Demi</vt:lpstr>
      <vt:lpstr>Calibri</vt:lpstr>
      <vt:lpstr>Century Gothic</vt:lpstr>
      <vt:lpstr>Trebuchet MS</vt:lpstr>
      <vt:lpstr>ENTSO-E Cover</vt:lpstr>
      <vt:lpstr>2_ENTSO-E Content</vt:lpstr>
      <vt:lpstr>3_ENTSO-E Content</vt:lpstr>
      <vt:lpstr>10_ENTSO-E Content</vt:lpstr>
      <vt:lpstr>17_ENTSO-E Content</vt:lpstr>
      <vt:lpstr>4_ENTSO-E Content</vt:lpstr>
      <vt:lpstr>5_ENTSO-E Content</vt:lpstr>
      <vt:lpstr>6_ENTSO-E Content</vt:lpstr>
      <vt:lpstr>18_ENTSO-E Content</vt:lpstr>
      <vt:lpstr>7_ENTSO-E Content</vt:lpstr>
      <vt:lpstr>think-cell Folie</vt:lpstr>
      <vt:lpstr>NC Demand Response (NC DR)</vt:lpstr>
    </vt:vector>
  </TitlesOfParts>
  <Company/>
  <LinksUpToDate>false</LinksUpToDate>
  <SharedDoc>false</SharedDoc>
  <HyperlinkBase>https://www.evg-online.org/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eering Group Transmission &amp; Distribution Interface</dc:title>
  <dc:subject>PowerPoint Master</dc:subject>
  <dc:creator>Victor Charbonnier</dc:creator>
  <cp:keywords>ENTSO-E PowerPoint</cp:keywords>
  <cp:lastModifiedBy>ENTSO-E</cp:lastModifiedBy>
  <cp:revision>25</cp:revision>
  <dcterms:created xsi:type="dcterms:W3CDTF">2021-03-24T12:45:12Z</dcterms:created>
  <dcterms:modified xsi:type="dcterms:W3CDTF">2024-12-03T10:57:27Z</dcterms:modified>
  <cp:category>PowerPoin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A166F7EC6A104587460E28C16FB3D4</vt:lpwstr>
  </property>
  <property fmtid="{D5CDD505-2E9C-101B-9397-08002B2CF9AE}" pid="3" name="TaxKeyword">
    <vt:lpwstr>4078;#ENTSO-E PowerPoint|6e3f1693-d05d-43c6-ad09-86e7e46fc6db</vt:lpwstr>
  </property>
  <property fmtid="{D5CDD505-2E9C-101B-9397-08002B2CF9AE}" pid="4" name="Level of Disclosure">
    <vt:lpwstr/>
  </property>
  <property fmtid="{D5CDD505-2E9C-101B-9397-08002B2CF9AE}" pid="5" name="Data Classification">
    <vt:lpwstr>4019;#Open within ENTSO-E only|9abc0ec8-f4dc-4890-bc00-2ed7d301575a</vt:lpwstr>
  </property>
  <property fmtid="{D5CDD505-2E9C-101B-9397-08002B2CF9AE}" pid="6" name="Data Origin">
    <vt:lpwstr>4021;#Entso-E|8b8da1a5-4bab-488a-80fd-9db3fbf777b9</vt:lpwstr>
  </property>
  <property fmtid="{D5CDD505-2E9C-101B-9397-08002B2CF9AE}" pid="7" name="MSIP_Label_d65a070e-ad16-4345-879f-c1de6464f1fb_Enabled">
    <vt:lpwstr>true</vt:lpwstr>
  </property>
  <property fmtid="{D5CDD505-2E9C-101B-9397-08002B2CF9AE}" pid="8" name="MSIP_Label_d65a070e-ad16-4345-879f-c1de6464f1fb_SetDate">
    <vt:lpwstr>2023-05-02T10:30:13Z</vt:lpwstr>
  </property>
  <property fmtid="{D5CDD505-2E9C-101B-9397-08002B2CF9AE}" pid="9" name="MSIP_Label_d65a070e-ad16-4345-879f-c1de6464f1fb_Method">
    <vt:lpwstr>Standard</vt:lpwstr>
  </property>
  <property fmtid="{D5CDD505-2E9C-101B-9397-08002B2CF9AE}" pid="10" name="MSIP_Label_d65a070e-ad16-4345-879f-c1de6464f1fb_Name">
    <vt:lpwstr>USO INTERNO - Con etichetta</vt:lpwstr>
  </property>
  <property fmtid="{D5CDD505-2E9C-101B-9397-08002B2CF9AE}" pid="11" name="MSIP_Label_d65a070e-ad16-4345-879f-c1de6464f1fb_SiteId">
    <vt:lpwstr>eccd734e-7022-4709-aba5-a5dd77929e27</vt:lpwstr>
  </property>
  <property fmtid="{D5CDD505-2E9C-101B-9397-08002B2CF9AE}" pid="12" name="MSIP_Label_d65a070e-ad16-4345-879f-c1de6464f1fb_ActionId">
    <vt:lpwstr>14f36bdb-8472-441f-b946-1d9e3aa9272f</vt:lpwstr>
  </property>
  <property fmtid="{D5CDD505-2E9C-101B-9397-08002B2CF9AE}" pid="13" name="MSIP_Label_d65a070e-ad16-4345-879f-c1de6464f1fb_ContentBits">
    <vt:lpwstr>2</vt:lpwstr>
  </property>
  <property fmtid="{D5CDD505-2E9C-101B-9397-08002B2CF9AE}" pid="14" name="ClassificationContentMarkingFooterLocations">
    <vt:lpwstr>ENTSO-E Cover:8\2_ENTSO-E Content:4\3_ENTSO-E Content:4\10_ENTSO-E Content:4\17_ENTSO-E Content:4\4_ENTSO-E Content:3\5_ENTSO-E Content:3\6_ENTSO-E Content:3\18_ENTSO-E Content:4\7_ENTSO-E Content:3</vt:lpwstr>
  </property>
  <property fmtid="{D5CDD505-2E9C-101B-9397-08002B2CF9AE}" pid="15" name="ClassificationContentMarkingFooterText">
    <vt:lpwstr>ISC - Uso INTERNO / INTERNAL Use</vt:lpwstr>
  </property>
  <property fmtid="{D5CDD505-2E9C-101B-9397-08002B2CF9AE}" pid="16" name="MYENTSOE_Classification2">
    <vt:lpwstr/>
  </property>
  <property fmtid="{D5CDD505-2E9C-101B-9397-08002B2CF9AE}" pid="17" name="Confidentiality">
    <vt:lpwstr/>
  </property>
  <property fmtid="{D5CDD505-2E9C-101B-9397-08002B2CF9AE}" pid="18" name="MYENTSOE_Classification3">
    <vt:lpwstr/>
  </property>
  <property fmtid="{D5CDD505-2E9C-101B-9397-08002B2CF9AE}" pid="19" name="MYENTSOE_PublicType">
    <vt:lpwstr>19;#Extranet|922fc1ba-0c8d-4fbf-b30d-83722d0f30f2</vt:lpwstr>
  </property>
  <property fmtid="{D5CDD505-2E9C-101B-9397-08002B2CF9AE}" pid="20" name="MYENTSOE_SharingType">
    <vt:lpwstr>21;#Shared|04da8cfa-2b68-4725-9db5-e7b66ab623e6</vt:lpwstr>
  </property>
  <property fmtid="{D5CDD505-2E9C-101B-9397-08002B2CF9AE}" pid="21" name="MYENTSOE_Classification1">
    <vt:lpwstr/>
  </property>
  <property fmtid="{D5CDD505-2E9C-101B-9397-08002B2CF9AE}" pid="22" name="MYENTSOE_Section">
    <vt:lpwstr>20;#Board|6cf52795-9928-4b7b-a6e8-b4c224a978ea</vt:lpwstr>
  </property>
  <property fmtid="{D5CDD505-2E9C-101B-9397-08002B2CF9AE}" pid="23" name="MYENTSOE_Classification4">
    <vt:lpwstr/>
  </property>
  <property fmtid="{D5CDD505-2E9C-101B-9397-08002B2CF9AE}" pid="24" name="MYENTSOE_DocumentClassification">
    <vt:lpwstr/>
  </property>
  <property fmtid="{D5CDD505-2E9C-101B-9397-08002B2CF9AE}" pid="25" name="MYENTSOE_DataClassification">
    <vt:lpwstr/>
  </property>
  <property fmtid="{D5CDD505-2E9C-101B-9397-08002B2CF9AE}" pid="26" name="ClassificationContentMarkingHeaderLocations">
    <vt:lpwstr>ENTSO-E Cover:9\2_ENTSO-E Content:6\3_ENTSO-E Content:6\10_ENTSO-E Content:6\17_ENTSO-E Content:6\4_ENTSO-E Content:4\5_ENTSO-E Content:4\6_ENTSO-E Content:4\18_ENTSO-E Content:6\7_ENTSO-E Content:4</vt:lpwstr>
  </property>
  <property fmtid="{D5CDD505-2E9C-101B-9397-08002B2CF9AE}" pid="27" name="ClassificationContentMarkingHeaderText">
    <vt:lpwstr>Intern (Internal)</vt:lpwstr>
  </property>
</Properties>
</file>